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4"/>
    <p:sldMasterId id="2147483837" r:id="rId5"/>
  </p:sldMasterIdLst>
  <p:notesMasterIdLst>
    <p:notesMasterId r:id="rId10"/>
  </p:notesMasterIdLst>
  <p:handoutMasterIdLst>
    <p:handoutMasterId r:id="rId11"/>
  </p:handoutMasterIdLst>
  <p:sldIdLst>
    <p:sldId id="625" r:id="rId6"/>
    <p:sldId id="293" r:id="rId7"/>
    <p:sldId id="615" r:id="rId8"/>
    <p:sldId id="626" r:id="rId9"/>
  </p:sldIdLst>
  <p:sldSz cx="9144000" cy="5143500" type="screen16x9"/>
  <p:notesSz cx="6797675" cy="9926638"/>
  <p:custDataLst>
    <p:tags r:id="rId12"/>
  </p:custDataLst>
  <p:defaultTextStyle>
    <a:defPPr>
      <a:defRPr lang="es-E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A92D"/>
    <a:srgbClr val="000000"/>
    <a:srgbClr val="E389A0"/>
    <a:srgbClr val="D5E5EE"/>
    <a:srgbClr val="D5E5EF"/>
    <a:srgbClr val="DEEBF4"/>
    <a:srgbClr val="EEF5F9"/>
    <a:srgbClr val="E9F2F7"/>
    <a:srgbClr val="D4E5F0"/>
    <a:srgbClr val="E7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Estilo medio 4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E171933-4619-4E11-9A3F-F7608DF75F80}" styleName="Estilo medio 1 - Énfasis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8D230F3-CF80-4859-8CE7-A43EE81993B5}" styleName="Estilo claro 1 - Acento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Acento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96"/>
  </p:normalViewPr>
  <p:slideViewPr>
    <p:cSldViewPr snapToGrid="0">
      <p:cViewPr>
        <p:scale>
          <a:sx n="125" d="100"/>
          <a:sy n="125" d="100"/>
        </p:scale>
        <p:origin x="1240" y="400"/>
      </p:cViewPr>
      <p:guideLst>
        <p:guide orient="horz" pos="486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driguez La Riva, David Jesus" userId="S::djrodriguez@indracompany.com::b03c3980-a76b-4351-9d68-85af116d1c15" providerId="AD" clId="Web-{8BD91EA8-CECC-4038-A08B-0A614889327D}"/>
    <pc:docChg chg="modSld">
      <pc:chgData name="Rodriguez La Riva, David Jesus" userId="S::djrodriguez@indracompany.com::b03c3980-a76b-4351-9d68-85af116d1c15" providerId="AD" clId="Web-{8BD91EA8-CECC-4038-A08B-0A614889327D}" dt="2020-10-02T14:47:00.468" v="1" actId="1076"/>
      <pc:docMkLst>
        <pc:docMk/>
      </pc:docMkLst>
      <pc:sldChg chg="modSp">
        <pc:chgData name="Rodriguez La Riva, David Jesus" userId="S::djrodriguez@indracompany.com::b03c3980-a76b-4351-9d68-85af116d1c15" providerId="AD" clId="Web-{8BD91EA8-CECC-4038-A08B-0A614889327D}" dt="2020-10-02T14:47:00.468" v="1" actId="1076"/>
        <pc:sldMkLst>
          <pc:docMk/>
          <pc:sldMk cId="4151100414" sldId="606"/>
        </pc:sldMkLst>
        <pc:picChg chg="mod">
          <ac:chgData name="Rodriguez La Riva, David Jesus" userId="S::djrodriguez@indracompany.com::b03c3980-a76b-4351-9d68-85af116d1c15" providerId="AD" clId="Web-{8BD91EA8-CECC-4038-A08B-0A614889327D}" dt="2020-10-02T14:47:00.468" v="1" actId="1076"/>
          <ac:picMkLst>
            <pc:docMk/>
            <pc:sldMk cId="4151100414" sldId="606"/>
            <ac:picMk id="2" creationId="{00000000-0000-0000-0000-000000000000}"/>
          </ac:picMkLst>
        </pc:picChg>
      </pc:sldChg>
    </pc:docChg>
  </pc:docChgLst>
  <pc:docChgLst>
    <pc:chgData name="Rodriguez La Riva, David Jesus" userId="S::djrodriguez@indracompany.com::b03c3980-a76b-4351-9d68-85af116d1c15" providerId="AD" clId="Web-{8C97E449-2F0F-47E0-A465-BD0E321FDF8D}"/>
    <pc:docChg chg="modSld">
      <pc:chgData name="Rodriguez La Riva, David Jesus" userId="S::djrodriguez@indracompany.com::b03c3980-a76b-4351-9d68-85af116d1c15" providerId="AD" clId="Web-{8C97E449-2F0F-47E0-A465-BD0E321FDF8D}" dt="2020-10-27T13:40:41.405" v="9" actId="1076"/>
      <pc:docMkLst>
        <pc:docMk/>
      </pc:docMkLst>
      <pc:sldChg chg="modSp">
        <pc:chgData name="Rodriguez La Riva, David Jesus" userId="S::djrodriguez@indracompany.com::b03c3980-a76b-4351-9d68-85af116d1c15" providerId="AD" clId="Web-{8C97E449-2F0F-47E0-A465-BD0E321FDF8D}" dt="2020-10-27T13:40:24.701" v="5" actId="1076"/>
        <pc:sldMkLst>
          <pc:docMk/>
          <pc:sldMk cId="1630085977" sldId="607"/>
        </pc:sldMkLst>
        <pc:picChg chg="mod">
          <ac:chgData name="Rodriguez La Riva, David Jesus" userId="S::djrodriguez@indracompany.com::b03c3980-a76b-4351-9d68-85af116d1c15" providerId="AD" clId="Web-{8C97E449-2F0F-47E0-A465-BD0E321FDF8D}" dt="2020-10-27T13:40:24.701" v="5" actId="1076"/>
          <ac:picMkLst>
            <pc:docMk/>
            <pc:sldMk cId="1630085977" sldId="607"/>
            <ac:picMk id="3" creationId="{00000000-0000-0000-0000-000000000000}"/>
          </ac:picMkLst>
        </pc:picChg>
      </pc:sldChg>
      <pc:sldChg chg="modSp">
        <pc:chgData name="Rodriguez La Riva, David Jesus" userId="S::djrodriguez@indracompany.com::b03c3980-a76b-4351-9d68-85af116d1c15" providerId="AD" clId="Web-{8C97E449-2F0F-47E0-A465-BD0E321FDF8D}" dt="2020-10-27T13:40:33.889" v="7" actId="1076"/>
        <pc:sldMkLst>
          <pc:docMk/>
          <pc:sldMk cId="3728982584" sldId="608"/>
        </pc:sldMkLst>
        <pc:picChg chg="mod">
          <ac:chgData name="Rodriguez La Riva, David Jesus" userId="S::djrodriguez@indracompany.com::b03c3980-a76b-4351-9d68-85af116d1c15" providerId="AD" clId="Web-{8C97E449-2F0F-47E0-A465-BD0E321FDF8D}" dt="2020-10-27T13:40:33.889" v="7" actId="1076"/>
          <ac:picMkLst>
            <pc:docMk/>
            <pc:sldMk cId="3728982584" sldId="608"/>
            <ac:picMk id="2" creationId="{00000000-0000-0000-0000-000000000000}"/>
          </ac:picMkLst>
        </pc:picChg>
      </pc:sldChg>
      <pc:sldChg chg="modSp">
        <pc:chgData name="Rodriguez La Riva, David Jesus" userId="S::djrodriguez@indracompany.com::b03c3980-a76b-4351-9d68-85af116d1c15" providerId="AD" clId="Web-{8C97E449-2F0F-47E0-A465-BD0E321FDF8D}" dt="2020-10-27T13:40:41.405" v="9" actId="1076"/>
        <pc:sldMkLst>
          <pc:docMk/>
          <pc:sldMk cId="3202702584" sldId="609"/>
        </pc:sldMkLst>
        <pc:picChg chg="mod">
          <ac:chgData name="Rodriguez La Riva, David Jesus" userId="S::djrodriguez@indracompany.com::b03c3980-a76b-4351-9d68-85af116d1c15" providerId="AD" clId="Web-{8C97E449-2F0F-47E0-A465-BD0E321FDF8D}" dt="2020-10-27T13:40:41.405" v="9" actId="1076"/>
          <ac:picMkLst>
            <pc:docMk/>
            <pc:sldMk cId="3202702584" sldId="609"/>
            <ac:picMk id="3" creationId="{00000000-0000-0000-0000-000000000000}"/>
          </ac:picMkLst>
        </pc:picChg>
      </pc:sldChg>
    </pc:docChg>
  </pc:docChgLst>
  <pc:docChgLst>
    <pc:chgData name="Rodriguez La Riva, David Jesus" userId="b03c3980-a76b-4351-9d68-85af116d1c15" providerId="ADAL" clId="{625A6D43-213E-4C89-930E-7955434BFEEC}"/>
    <pc:docChg chg="modSld">
      <pc:chgData name="Rodriguez La Riva, David Jesus" userId="b03c3980-a76b-4351-9d68-85af116d1c15" providerId="ADAL" clId="{625A6D43-213E-4C89-930E-7955434BFEEC}" dt="2020-11-13T20:19:35.712" v="4" actId="1076"/>
      <pc:docMkLst>
        <pc:docMk/>
      </pc:docMkLst>
      <pc:sldChg chg="modSp mod">
        <pc:chgData name="Rodriguez La Riva, David Jesus" userId="b03c3980-a76b-4351-9d68-85af116d1c15" providerId="ADAL" clId="{625A6D43-213E-4C89-930E-7955434BFEEC}" dt="2020-11-13T20:09:29.105" v="3" actId="14100"/>
        <pc:sldMkLst>
          <pc:docMk/>
          <pc:sldMk cId="1630085977" sldId="607"/>
        </pc:sldMkLst>
        <pc:picChg chg="mod">
          <ac:chgData name="Rodriguez La Riva, David Jesus" userId="b03c3980-a76b-4351-9d68-85af116d1c15" providerId="ADAL" clId="{625A6D43-213E-4C89-930E-7955434BFEEC}" dt="2020-11-13T20:09:29.105" v="3" actId="14100"/>
          <ac:picMkLst>
            <pc:docMk/>
            <pc:sldMk cId="1630085977" sldId="607"/>
            <ac:picMk id="3" creationId="{00000000-0000-0000-0000-000000000000}"/>
          </ac:picMkLst>
        </pc:picChg>
      </pc:sldChg>
      <pc:sldChg chg="modSp mod">
        <pc:chgData name="Rodriguez La Riva, David Jesus" userId="b03c3980-a76b-4351-9d68-85af116d1c15" providerId="ADAL" clId="{625A6D43-213E-4C89-930E-7955434BFEEC}" dt="2020-11-13T20:07:32.038" v="0" actId="1076"/>
        <pc:sldMkLst>
          <pc:docMk/>
          <pc:sldMk cId="3728982584" sldId="608"/>
        </pc:sldMkLst>
        <pc:picChg chg="mod">
          <ac:chgData name="Rodriguez La Riva, David Jesus" userId="b03c3980-a76b-4351-9d68-85af116d1c15" providerId="ADAL" clId="{625A6D43-213E-4C89-930E-7955434BFEEC}" dt="2020-11-13T20:07:32.038" v="0" actId="1076"/>
          <ac:picMkLst>
            <pc:docMk/>
            <pc:sldMk cId="3728982584" sldId="608"/>
            <ac:picMk id="2" creationId="{00000000-0000-0000-0000-000000000000}"/>
          </ac:picMkLst>
        </pc:picChg>
      </pc:sldChg>
      <pc:sldChg chg="modSp mod">
        <pc:chgData name="Rodriguez La Riva, David Jesus" userId="b03c3980-a76b-4351-9d68-85af116d1c15" providerId="ADAL" clId="{625A6D43-213E-4C89-930E-7955434BFEEC}" dt="2020-11-13T20:19:35.712" v="4" actId="1076"/>
        <pc:sldMkLst>
          <pc:docMk/>
          <pc:sldMk cId="3202702584" sldId="609"/>
        </pc:sldMkLst>
        <pc:picChg chg="mod">
          <ac:chgData name="Rodriguez La Riva, David Jesus" userId="b03c3980-a76b-4351-9d68-85af116d1c15" providerId="ADAL" clId="{625A6D43-213E-4C89-930E-7955434BFEEC}" dt="2020-11-13T20:19:35.712" v="4" actId="1076"/>
          <ac:picMkLst>
            <pc:docMk/>
            <pc:sldMk cId="3202702584" sldId="609"/>
            <ac:picMk id="3" creationId="{00000000-0000-0000-0000-000000000000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image" Target="../media/image25.jpg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image" Target="../media/image25.jpg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6DFE52B-1E89-41D6-8735-62575C518A6E}" type="doc">
      <dgm:prSet loTypeId="urn:microsoft.com/office/officeart/2009/layout/CirclePicture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BE0281C3-82B7-4EA2-8563-161C8B9929D8}">
      <dgm:prSet phldrT="[Texto]"/>
      <dgm:spPr/>
      <dgm:t>
        <a:bodyPr/>
        <a:lstStyle/>
        <a:p>
          <a:r>
            <a:rPr lang="es-ES"/>
            <a:t>Artefactos</a:t>
          </a:r>
        </a:p>
      </dgm:t>
    </dgm:pt>
    <dgm:pt modelId="{C9476E98-F4BF-49DE-8713-B39A237D7159}" type="parTrans" cxnId="{7EDD30E5-5746-4C88-B288-FAFF85238DA6}">
      <dgm:prSet/>
      <dgm:spPr/>
      <dgm:t>
        <a:bodyPr/>
        <a:lstStyle/>
        <a:p>
          <a:endParaRPr lang="es-ES"/>
        </a:p>
      </dgm:t>
    </dgm:pt>
    <dgm:pt modelId="{65043B6E-F80E-4AE0-82C2-127EBA627B71}" type="sibTrans" cxnId="{7EDD30E5-5746-4C88-B288-FAFF85238DA6}">
      <dgm:prSet/>
      <dgm:spPr/>
      <dgm:t>
        <a:bodyPr/>
        <a:lstStyle/>
        <a:p>
          <a:endParaRPr lang="es-ES"/>
        </a:p>
      </dgm:t>
    </dgm:pt>
    <dgm:pt modelId="{256BD1A5-1973-4656-9605-010F6FAAD207}">
      <dgm:prSet phldrT="[Texto]"/>
      <dgm:spPr/>
      <dgm:t>
        <a:bodyPr/>
        <a:lstStyle/>
        <a:p>
          <a:r>
            <a:rPr lang="es-ES" dirty="0"/>
            <a:t>Maven</a:t>
          </a:r>
        </a:p>
      </dgm:t>
    </dgm:pt>
    <dgm:pt modelId="{49B0AAFF-A075-4E3D-B438-E4CBCDC2F999}" type="parTrans" cxnId="{0B502BA5-FD48-494E-9E44-A3B9F0B5C443}">
      <dgm:prSet/>
      <dgm:spPr/>
      <dgm:t>
        <a:bodyPr/>
        <a:lstStyle/>
        <a:p>
          <a:endParaRPr lang="es-ES"/>
        </a:p>
      </dgm:t>
    </dgm:pt>
    <dgm:pt modelId="{D2BAE246-2F35-4197-B237-B53753EFE4FD}" type="sibTrans" cxnId="{0B502BA5-FD48-494E-9E44-A3B9F0B5C443}">
      <dgm:prSet/>
      <dgm:spPr/>
      <dgm:t>
        <a:bodyPr/>
        <a:lstStyle/>
        <a:p>
          <a:endParaRPr lang="es-ES"/>
        </a:p>
      </dgm:t>
    </dgm:pt>
    <dgm:pt modelId="{066ACAB7-E90C-40B4-AA6F-9954BC803879}">
      <dgm:prSet phldrT="[Texto]"/>
      <dgm:spPr/>
      <dgm:t>
        <a:bodyPr/>
        <a:lstStyle/>
        <a:p>
          <a:r>
            <a:rPr lang="es-ES" err="1"/>
            <a:t>Npm</a:t>
          </a:r>
          <a:endParaRPr lang="es-ES"/>
        </a:p>
      </dgm:t>
    </dgm:pt>
    <dgm:pt modelId="{CEDEFB00-9F1A-42A7-B3BD-CF81CA84B97A}" type="parTrans" cxnId="{331CFF1B-F622-4188-A5F3-F43792A2F3A7}">
      <dgm:prSet/>
      <dgm:spPr/>
      <dgm:t>
        <a:bodyPr/>
        <a:lstStyle/>
        <a:p>
          <a:endParaRPr lang="es-ES"/>
        </a:p>
      </dgm:t>
    </dgm:pt>
    <dgm:pt modelId="{F6E96B8B-6118-4889-8BB1-56F471E7B231}" type="sibTrans" cxnId="{331CFF1B-F622-4188-A5F3-F43792A2F3A7}">
      <dgm:prSet/>
      <dgm:spPr/>
      <dgm:t>
        <a:bodyPr/>
        <a:lstStyle/>
        <a:p>
          <a:endParaRPr lang="es-ES"/>
        </a:p>
      </dgm:t>
    </dgm:pt>
    <dgm:pt modelId="{A8545E68-7EBD-4403-9F9C-1523540A275A}">
      <dgm:prSet phldrT="[Texto]"/>
      <dgm:spPr/>
      <dgm:t>
        <a:bodyPr/>
        <a:lstStyle/>
        <a:p>
          <a:r>
            <a:rPr lang="es-ES"/>
            <a:t>Imágenes</a:t>
          </a:r>
        </a:p>
      </dgm:t>
    </dgm:pt>
    <dgm:pt modelId="{BC9E165F-5435-4DCD-8274-C0957AD7E96D}" type="parTrans" cxnId="{3FBDAA92-1395-4BF4-8AF7-6B48E5AD7CC8}">
      <dgm:prSet/>
      <dgm:spPr/>
      <dgm:t>
        <a:bodyPr/>
        <a:lstStyle/>
        <a:p>
          <a:endParaRPr lang="es-ES"/>
        </a:p>
      </dgm:t>
    </dgm:pt>
    <dgm:pt modelId="{B785C28A-2D58-4913-9C98-5BC0C20C95E7}" type="sibTrans" cxnId="{3FBDAA92-1395-4BF4-8AF7-6B48E5AD7CC8}">
      <dgm:prSet/>
      <dgm:spPr/>
      <dgm:t>
        <a:bodyPr/>
        <a:lstStyle/>
        <a:p>
          <a:endParaRPr lang="es-ES"/>
        </a:p>
      </dgm:t>
    </dgm:pt>
    <dgm:pt modelId="{2BECB726-770E-4FB2-B517-A2C27F8D84DD}">
      <dgm:prSet phldrT="[Texto]"/>
      <dgm:spPr/>
      <dgm:t>
        <a:bodyPr/>
        <a:lstStyle/>
        <a:p>
          <a:r>
            <a:rPr lang="es-ES"/>
            <a:t>Herramientas</a:t>
          </a:r>
        </a:p>
      </dgm:t>
    </dgm:pt>
    <dgm:pt modelId="{EF486D20-8F33-4DE2-9331-3837C2D9E3FF}" type="parTrans" cxnId="{3F330DD6-C86B-4BD9-9E53-90C1377F766A}">
      <dgm:prSet/>
      <dgm:spPr/>
      <dgm:t>
        <a:bodyPr/>
        <a:lstStyle/>
        <a:p>
          <a:endParaRPr lang="es-ES"/>
        </a:p>
      </dgm:t>
    </dgm:pt>
    <dgm:pt modelId="{9B546334-25A8-486A-81AF-3C9C0803A8A4}" type="sibTrans" cxnId="{3F330DD6-C86B-4BD9-9E53-90C1377F766A}">
      <dgm:prSet/>
      <dgm:spPr/>
      <dgm:t>
        <a:bodyPr/>
        <a:lstStyle/>
        <a:p>
          <a:endParaRPr lang="es-ES"/>
        </a:p>
      </dgm:t>
    </dgm:pt>
    <dgm:pt modelId="{CC89D603-6FF4-4594-AA1E-8FCE3361D09A}">
      <dgm:prSet phldrT="[Texto]"/>
      <dgm:spPr/>
      <dgm:t>
        <a:bodyPr/>
        <a:lstStyle/>
        <a:p>
          <a:r>
            <a:rPr lang="es-ES"/>
            <a:t>Aplicaciones</a:t>
          </a:r>
        </a:p>
      </dgm:t>
    </dgm:pt>
    <dgm:pt modelId="{0737315C-7CC1-4700-AB9C-85B3C5ACC334}" type="parTrans" cxnId="{F716B47F-72D5-4DB6-AFAE-E413715AEDDC}">
      <dgm:prSet/>
      <dgm:spPr/>
      <dgm:t>
        <a:bodyPr/>
        <a:lstStyle/>
        <a:p>
          <a:endParaRPr lang="es-ES"/>
        </a:p>
      </dgm:t>
    </dgm:pt>
    <dgm:pt modelId="{B84B9147-9BBC-4234-878A-212C79EEC4AA}" type="sibTrans" cxnId="{F716B47F-72D5-4DB6-AFAE-E413715AEDDC}">
      <dgm:prSet/>
      <dgm:spPr/>
      <dgm:t>
        <a:bodyPr/>
        <a:lstStyle/>
        <a:p>
          <a:endParaRPr lang="es-ES"/>
        </a:p>
      </dgm:t>
    </dgm:pt>
    <dgm:pt modelId="{ED76CF76-197E-4FD3-A909-5172EC45C4CA}">
      <dgm:prSet phldrT="[Texto]"/>
      <dgm:spPr/>
      <dgm:t>
        <a:bodyPr/>
        <a:lstStyle/>
        <a:p>
          <a:r>
            <a:rPr lang="es-ES"/>
            <a:t>…</a:t>
          </a:r>
        </a:p>
      </dgm:t>
    </dgm:pt>
    <dgm:pt modelId="{B5B0417C-7442-4686-8BD6-3499CB86AE79}" type="parTrans" cxnId="{7FF524E0-F349-4848-8655-A7C78AEB037A}">
      <dgm:prSet/>
      <dgm:spPr/>
      <dgm:t>
        <a:bodyPr/>
        <a:lstStyle/>
        <a:p>
          <a:endParaRPr lang="es-ES"/>
        </a:p>
      </dgm:t>
    </dgm:pt>
    <dgm:pt modelId="{33EBDB32-A960-410C-A623-2145BF0C4CC9}" type="sibTrans" cxnId="{7FF524E0-F349-4848-8655-A7C78AEB037A}">
      <dgm:prSet/>
      <dgm:spPr/>
      <dgm:t>
        <a:bodyPr/>
        <a:lstStyle/>
        <a:p>
          <a:endParaRPr lang="es-ES"/>
        </a:p>
      </dgm:t>
    </dgm:pt>
    <dgm:pt modelId="{7A81036B-5240-4C77-A22B-BC8F0C887F4A}">
      <dgm:prSet phldrT="[Texto]"/>
      <dgm:spPr/>
      <dgm:t>
        <a:bodyPr/>
        <a:lstStyle/>
        <a:p>
          <a:r>
            <a:rPr lang="es-ES" dirty="0" err="1"/>
            <a:t>Jfrog</a:t>
          </a:r>
          <a:r>
            <a:rPr lang="es-ES" dirty="0"/>
            <a:t> </a:t>
          </a:r>
          <a:r>
            <a:rPr lang="es-ES" dirty="0" err="1"/>
            <a:t>Artifactory</a:t>
          </a:r>
          <a:r>
            <a:rPr lang="es-ES" dirty="0"/>
            <a:t> / </a:t>
          </a:r>
          <a:r>
            <a:rPr lang="es-ES" dirty="0" err="1"/>
            <a:t>Container</a:t>
          </a:r>
          <a:r>
            <a:rPr lang="es-ES" dirty="0"/>
            <a:t> </a:t>
          </a:r>
          <a:r>
            <a:rPr lang="es-ES" dirty="0" err="1"/>
            <a:t>Registry</a:t>
          </a:r>
          <a:endParaRPr lang="es-ES" dirty="0"/>
        </a:p>
      </dgm:t>
    </dgm:pt>
    <dgm:pt modelId="{64438890-6827-4AE7-AF6D-658E744E17AB}" type="sibTrans" cxnId="{1E5EA090-6036-47E7-9360-AB0F408AEA41}">
      <dgm:prSet/>
      <dgm:spPr/>
      <dgm:t>
        <a:bodyPr/>
        <a:lstStyle/>
        <a:p>
          <a:endParaRPr lang="es-ES"/>
        </a:p>
      </dgm:t>
    </dgm:pt>
    <dgm:pt modelId="{A5B82574-BE57-4F20-9B63-EBD22EA00516}" type="parTrans" cxnId="{1E5EA090-6036-47E7-9360-AB0F408AEA41}">
      <dgm:prSet/>
      <dgm:spPr/>
      <dgm:t>
        <a:bodyPr/>
        <a:lstStyle/>
        <a:p>
          <a:endParaRPr lang="es-ES"/>
        </a:p>
      </dgm:t>
    </dgm:pt>
    <dgm:pt modelId="{87DCF093-31B6-4A8D-AB52-4D10E33A784E}">
      <dgm:prSet phldrT="[Texto]"/>
      <dgm:spPr/>
      <dgm:t>
        <a:bodyPr/>
        <a:lstStyle/>
        <a:p>
          <a:r>
            <a:rPr lang="es-ES" dirty="0" err="1"/>
            <a:t>Helm</a:t>
          </a:r>
          <a:endParaRPr lang="es-ES" dirty="0"/>
        </a:p>
      </dgm:t>
    </dgm:pt>
    <dgm:pt modelId="{3B8C9DA8-5D77-4D8D-9AC3-CED3295980D9}" type="sibTrans" cxnId="{20BC1FFF-4939-453F-8837-B05E690AE3D9}">
      <dgm:prSet/>
      <dgm:spPr/>
      <dgm:t>
        <a:bodyPr/>
        <a:lstStyle/>
        <a:p>
          <a:endParaRPr lang="es-ES"/>
        </a:p>
      </dgm:t>
    </dgm:pt>
    <dgm:pt modelId="{29E2763C-C22C-48B9-9038-2E68FE84EFF8}" type="parTrans" cxnId="{20BC1FFF-4939-453F-8837-B05E690AE3D9}">
      <dgm:prSet/>
      <dgm:spPr/>
      <dgm:t>
        <a:bodyPr/>
        <a:lstStyle/>
        <a:p>
          <a:endParaRPr lang="es-ES"/>
        </a:p>
      </dgm:t>
    </dgm:pt>
    <dgm:pt modelId="{57B4E22F-B9BA-45FC-B4DE-7174EF7B20D1}" type="pres">
      <dgm:prSet presAssocID="{96DFE52B-1E89-41D6-8735-62575C518A6E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1A34FB6B-DA5F-44E0-81C2-7664459B1F06}" type="pres">
      <dgm:prSet presAssocID="{7A81036B-5240-4C77-A22B-BC8F0C887F4A}" presName="hierRoot1" presStyleCnt="0"/>
      <dgm:spPr/>
    </dgm:pt>
    <dgm:pt modelId="{2C2200F7-5179-4B89-8781-A6856EA6E5B1}" type="pres">
      <dgm:prSet presAssocID="{7A81036B-5240-4C77-A22B-BC8F0C887F4A}" presName="composite" presStyleCnt="0"/>
      <dgm:spPr/>
    </dgm:pt>
    <dgm:pt modelId="{6382A06F-8186-4A36-9902-FE562712F38B}" type="pres">
      <dgm:prSet presAssocID="{7A81036B-5240-4C77-A22B-BC8F0C887F4A}" presName="image" presStyleLbl="node0" presStyleIdx="0" presStyleCnt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C596F2FE-B5E4-4CCA-BFAC-280FA291879A}" type="pres">
      <dgm:prSet presAssocID="{7A81036B-5240-4C77-A22B-BC8F0C887F4A}" presName="text" presStyleLbl="revTx" presStyleIdx="0" presStyleCnt="9">
        <dgm:presLayoutVars>
          <dgm:chPref val="3"/>
        </dgm:presLayoutVars>
      </dgm:prSet>
      <dgm:spPr/>
    </dgm:pt>
    <dgm:pt modelId="{5FED8438-1505-44FC-9998-7F2A97E6FC40}" type="pres">
      <dgm:prSet presAssocID="{7A81036B-5240-4C77-A22B-BC8F0C887F4A}" presName="hierChild2" presStyleCnt="0"/>
      <dgm:spPr/>
    </dgm:pt>
    <dgm:pt modelId="{FF657DC8-2381-42A5-A5AE-A682BB3B091F}" type="pres">
      <dgm:prSet presAssocID="{C9476E98-F4BF-49DE-8713-B39A237D7159}" presName="Name10" presStyleLbl="parChTrans1D2" presStyleIdx="0" presStyleCnt="2"/>
      <dgm:spPr/>
    </dgm:pt>
    <dgm:pt modelId="{616EEC87-CACF-4B63-9CE1-5643E45EACB7}" type="pres">
      <dgm:prSet presAssocID="{BE0281C3-82B7-4EA2-8563-161C8B9929D8}" presName="hierRoot2" presStyleCnt="0"/>
      <dgm:spPr/>
    </dgm:pt>
    <dgm:pt modelId="{8BDB6974-FE48-4242-BCDA-1D7F1B57E826}" type="pres">
      <dgm:prSet presAssocID="{BE0281C3-82B7-4EA2-8563-161C8B9929D8}" presName="composite2" presStyleCnt="0"/>
      <dgm:spPr/>
    </dgm:pt>
    <dgm:pt modelId="{F5FC8F12-D72B-4A91-BB3F-F2466E9DBE6E}" type="pres">
      <dgm:prSet presAssocID="{BE0281C3-82B7-4EA2-8563-161C8B9929D8}" presName="image2" presStyleLbl="node2" presStyleIdx="0" presStyleCnt="2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C2051622-F9AF-42E5-9741-96F763A8A490}" type="pres">
      <dgm:prSet presAssocID="{BE0281C3-82B7-4EA2-8563-161C8B9929D8}" presName="text2" presStyleLbl="revTx" presStyleIdx="1" presStyleCnt="9">
        <dgm:presLayoutVars>
          <dgm:chPref val="3"/>
        </dgm:presLayoutVars>
      </dgm:prSet>
      <dgm:spPr/>
    </dgm:pt>
    <dgm:pt modelId="{6712B9CE-7A2D-4F88-9136-3BD2B277DD3C}" type="pres">
      <dgm:prSet presAssocID="{BE0281C3-82B7-4EA2-8563-161C8B9929D8}" presName="hierChild3" presStyleCnt="0"/>
      <dgm:spPr/>
    </dgm:pt>
    <dgm:pt modelId="{92569523-B8F9-4545-BEBC-3E2B117F147B}" type="pres">
      <dgm:prSet presAssocID="{49B0AAFF-A075-4E3D-B438-E4CBCDC2F999}" presName="Name17" presStyleLbl="parChTrans1D3" presStyleIdx="0" presStyleCnt="6"/>
      <dgm:spPr/>
    </dgm:pt>
    <dgm:pt modelId="{803E8991-C45A-4BA2-BCFD-D6E7427247BF}" type="pres">
      <dgm:prSet presAssocID="{256BD1A5-1973-4656-9605-010F6FAAD207}" presName="hierRoot3" presStyleCnt="0"/>
      <dgm:spPr/>
    </dgm:pt>
    <dgm:pt modelId="{9AEFD7DF-9DDB-40E9-B9A9-FA4DAE05D254}" type="pres">
      <dgm:prSet presAssocID="{256BD1A5-1973-4656-9605-010F6FAAD207}" presName="composite3" presStyleCnt="0"/>
      <dgm:spPr/>
    </dgm:pt>
    <dgm:pt modelId="{724132A4-DC1E-4B72-8E3A-F570024E0BD1}" type="pres">
      <dgm:prSet presAssocID="{256BD1A5-1973-4656-9605-010F6FAAD207}" presName="image3" presStyleLbl="node3" presStyleIdx="0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8000" r="-8000"/>
          </a:stretch>
        </a:blipFill>
      </dgm:spPr>
    </dgm:pt>
    <dgm:pt modelId="{9E2B1BD5-2408-4CBD-8E48-5FEE3C6A3CD9}" type="pres">
      <dgm:prSet presAssocID="{256BD1A5-1973-4656-9605-010F6FAAD207}" presName="text3" presStyleLbl="revTx" presStyleIdx="2" presStyleCnt="9">
        <dgm:presLayoutVars>
          <dgm:chPref val="3"/>
        </dgm:presLayoutVars>
      </dgm:prSet>
      <dgm:spPr/>
    </dgm:pt>
    <dgm:pt modelId="{B8BEC71D-AA82-4C3A-84CB-74EBC9E1FB8D}" type="pres">
      <dgm:prSet presAssocID="{256BD1A5-1973-4656-9605-010F6FAAD207}" presName="hierChild4" presStyleCnt="0"/>
      <dgm:spPr/>
    </dgm:pt>
    <dgm:pt modelId="{C92C8D04-9DD5-425E-A86A-3A89E208AEE0}" type="pres">
      <dgm:prSet presAssocID="{CEDEFB00-9F1A-42A7-B3BD-CF81CA84B97A}" presName="Name17" presStyleLbl="parChTrans1D3" presStyleIdx="1" presStyleCnt="6"/>
      <dgm:spPr/>
    </dgm:pt>
    <dgm:pt modelId="{AD428789-5159-42D9-949E-4D70BE44965B}" type="pres">
      <dgm:prSet presAssocID="{066ACAB7-E90C-40B4-AA6F-9954BC803879}" presName="hierRoot3" presStyleCnt="0"/>
      <dgm:spPr/>
    </dgm:pt>
    <dgm:pt modelId="{26764EC1-5FCA-4643-BDC1-2F9FE704889B}" type="pres">
      <dgm:prSet presAssocID="{066ACAB7-E90C-40B4-AA6F-9954BC803879}" presName="composite3" presStyleCnt="0"/>
      <dgm:spPr/>
    </dgm:pt>
    <dgm:pt modelId="{B996CD58-DCB3-4670-84FD-D19CCFBE5F41}" type="pres">
      <dgm:prSet presAssocID="{066ACAB7-E90C-40B4-AA6F-9954BC803879}" presName="image3" presStyleLbl="node3" presStyleIdx="1" presStyleCnt="6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8000" r="-78000"/>
          </a:stretch>
        </a:blipFill>
      </dgm:spPr>
    </dgm:pt>
    <dgm:pt modelId="{E2704D83-9F76-4C68-83FB-45C29E1E13FE}" type="pres">
      <dgm:prSet presAssocID="{066ACAB7-E90C-40B4-AA6F-9954BC803879}" presName="text3" presStyleLbl="revTx" presStyleIdx="3" presStyleCnt="9">
        <dgm:presLayoutVars>
          <dgm:chPref val="3"/>
        </dgm:presLayoutVars>
      </dgm:prSet>
      <dgm:spPr/>
    </dgm:pt>
    <dgm:pt modelId="{70D0EEEB-93C5-4CAE-BCFF-41B33CCCC6CB}" type="pres">
      <dgm:prSet presAssocID="{066ACAB7-E90C-40B4-AA6F-9954BC803879}" presName="hierChild4" presStyleCnt="0"/>
      <dgm:spPr/>
    </dgm:pt>
    <dgm:pt modelId="{1068FA86-BF7E-4AC7-9B46-B4C50DEEB756}" type="pres">
      <dgm:prSet presAssocID="{29E2763C-C22C-48B9-9038-2E68FE84EFF8}" presName="Name17" presStyleLbl="parChTrans1D3" presStyleIdx="2" presStyleCnt="6"/>
      <dgm:spPr/>
    </dgm:pt>
    <dgm:pt modelId="{145C382C-2F23-4AC5-9478-E5B236D8AD87}" type="pres">
      <dgm:prSet presAssocID="{87DCF093-31B6-4A8D-AB52-4D10E33A784E}" presName="hierRoot3" presStyleCnt="0"/>
      <dgm:spPr/>
    </dgm:pt>
    <dgm:pt modelId="{C49ECFE9-E37A-4BFD-8343-89DE66829D59}" type="pres">
      <dgm:prSet presAssocID="{87DCF093-31B6-4A8D-AB52-4D10E33A784E}" presName="composite3" presStyleCnt="0"/>
      <dgm:spPr/>
    </dgm:pt>
    <dgm:pt modelId="{B7CEEECA-D4DB-4DF9-AF05-A23E6EECDB93}" type="pres">
      <dgm:prSet presAssocID="{87DCF093-31B6-4A8D-AB52-4D10E33A784E}" presName="image3" presStyleLbl="node3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</dgm:spPr>
    </dgm:pt>
    <dgm:pt modelId="{B115841A-B115-44D7-8B5E-5457359D1976}" type="pres">
      <dgm:prSet presAssocID="{87DCF093-31B6-4A8D-AB52-4D10E33A784E}" presName="text3" presStyleLbl="revTx" presStyleIdx="4" presStyleCnt="9">
        <dgm:presLayoutVars>
          <dgm:chPref val="3"/>
        </dgm:presLayoutVars>
      </dgm:prSet>
      <dgm:spPr/>
    </dgm:pt>
    <dgm:pt modelId="{476D8E4F-DBFA-4B08-933B-7CA3DA8B20F6}" type="pres">
      <dgm:prSet presAssocID="{87DCF093-31B6-4A8D-AB52-4D10E33A784E}" presName="hierChild4" presStyleCnt="0"/>
      <dgm:spPr/>
    </dgm:pt>
    <dgm:pt modelId="{5DC08294-4695-4F14-8146-F2BC457CC22C}" type="pres">
      <dgm:prSet presAssocID="{B5B0417C-7442-4686-8BD6-3499CB86AE79}" presName="Name17" presStyleLbl="parChTrans1D3" presStyleIdx="3" presStyleCnt="6"/>
      <dgm:spPr/>
    </dgm:pt>
    <dgm:pt modelId="{92FD1E32-8714-4482-A092-CE6FF54C7249}" type="pres">
      <dgm:prSet presAssocID="{ED76CF76-197E-4FD3-A909-5172EC45C4CA}" presName="hierRoot3" presStyleCnt="0"/>
      <dgm:spPr/>
    </dgm:pt>
    <dgm:pt modelId="{8C7198F5-F8BC-41FB-BBDA-5D0576A0B2BD}" type="pres">
      <dgm:prSet presAssocID="{ED76CF76-197E-4FD3-A909-5172EC45C4CA}" presName="composite3" presStyleCnt="0"/>
      <dgm:spPr/>
    </dgm:pt>
    <dgm:pt modelId="{FBBA1A11-19C3-42F5-AC81-8497C410A920}" type="pres">
      <dgm:prSet presAssocID="{ED76CF76-197E-4FD3-A909-5172EC45C4CA}" presName="image3" presStyleLbl="node3" presStyleIdx="3" presStyleCnt="6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77D86BEF-5CFB-40B6-BA5A-20E9F4182A40}" type="pres">
      <dgm:prSet presAssocID="{ED76CF76-197E-4FD3-A909-5172EC45C4CA}" presName="text3" presStyleLbl="revTx" presStyleIdx="5" presStyleCnt="9">
        <dgm:presLayoutVars>
          <dgm:chPref val="3"/>
        </dgm:presLayoutVars>
      </dgm:prSet>
      <dgm:spPr/>
    </dgm:pt>
    <dgm:pt modelId="{F85BA22A-64E2-4809-943D-A5E65C4C06C7}" type="pres">
      <dgm:prSet presAssocID="{ED76CF76-197E-4FD3-A909-5172EC45C4CA}" presName="hierChild4" presStyleCnt="0"/>
      <dgm:spPr/>
    </dgm:pt>
    <dgm:pt modelId="{A467B733-64CF-452B-8910-624B01A51F81}" type="pres">
      <dgm:prSet presAssocID="{BC9E165F-5435-4DCD-8274-C0957AD7E96D}" presName="Name10" presStyleLbl="parChTrans1D2" presStyleIdx="1" presStyleCnt="2"/>
      <dgm:spPr/>
    </dgm:pt>
    <dgm:pt modelId="{A2329219-14A4-496A-8850-275EB03F7428}" type="pres">
      <dgm:prSet presAssocID="{A8545E68-7EBD-4403-9F9C-1523540A275A}" presName="hierRoot2" presStyleCnt="0"/>
      <dgm:spPr/>
    </dgm:pt>
    <dgm:pt modelId="{CDEE0F67-E6E2-499A-8461-1D3BA3323ABA}" type="pres">
      <dgm:prSet presAssocID="{A8545E68-7EBD-4403-9F9C-1523540A275A}" presName="composite2" presStyleCnt="0"/>
      <dgm:spPr/>
    </dgm:pt>
    <dgm:pt modelId="{1ECEB71A-9FE2-45F2-BC0E-005FDDCFCE16}" type="pres">
      <dgm:prSet presAssocID="{A8545E68-7EBD-4403-9F9C-1523540A275A}" presName="image2" presStyleLbl="node2" presStyleIdx="1" presStyleCnt="2"/>
      <dgm:spPr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F76971BB-39EB-4C42-ADC1-9259BCA78CE1}" type="pres">
      <dgm:prSet presAssocID="{A8545E68-7EBD-4403-9F9C-1523540A275A}" presName="text2" presStyleLbl="revTx" presStyleIdx="6" presStyleCnt="9">
        <dgm:presLayoutVars>
          <dgm:chPref val="3"/>
        </dgm:presLayoutVars>
      </dgm:prSet>
      <dgm:spPr/>
    </dgm:pt>
    <dgm:pt modelId="{0F0F1D5B-FC13-4640-B090-F08F3A9CE06A}" type="pres">
      <dgm:prSet presAssocID="{A8545E68-7EBD-4403-9F9C-1523540A275A}" presName="hierChild3" presStyleCnt="0"/>
      <dgm:spPr/>
    </dgm:pt>
    <dgm:pt modelId="{62A3A176-32A5-49AA-A311-622FFD31A832}" type="pres">
      <dgm:prSet presAssocID="{EF486D20-8F33-4DE2-9331-3837C2D9E3FF}" presName="Name17" presStyleLbl="parChTrans1D3" presStyleIdx="4" presStyleCnt="6"/>
      <dgm:spPr/>
    </dgm:pt>
    <dgm:pt modelId="{EBA91DBB-7C3B-405F-BBFB-DF2933447A80}" type="pres">
      <dgm:prSet presAssocID="{2BECB726-770E-4FB2-B517-A2C27F8D84DD}" presName="hierRoot3" presStyleCnt="0"/>
      <dgm:spPr/>
    </dgm:pt>
    <dgm:pt modelId="{79109DF4-A04A-4CA1-91BA-1D6F42AA566E}" type="pres">
      <dgm:prSet presAssocID="{2BECB726-770E-4FB2-B517-A2C27F8D84DD}" presName="composite3" presStyleCnt="0"/>
      <dgm:spPr/>
    </dgm:pt>
    <dgm:pt modelId="{0E3BBD64-8353-4B82-9070-847A063020DB}" type="pres">
      <dgm:prSet presAssocID="{2BECB726-770E-4FB2-B517-A2C27F8D84DD}" presName="image3" presStyleLbl="node3" presStyleIdx="4" presStyleCnt="6"/>
      <dgm:spPr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7ACB1605-5C90-4C84-B1AB-26065830D181}" type="pres">
      <dgm:prSet presAssocID="{2BECB726-770E-4FB2-B517-A2C27F8D84DD}" presName="text3" presStyleLbl="revTx" presStyleIdx="7" presStyleCnt="9">
        <dgm:presLayoutVars>
          <dgm:chPref val="3"/>
        </dgm:presLayoutVars>
      </dgm:prSet>
      <dgm:spPr/>
    </dgm:pt>
    <dgm:pt modelId="{A19EF568-1974-425A-8C4B-4378293487A8}" type="pres">
      <dgm:prSet presAssocID="{2BECB726-770E-4FB2-B517-A2C27F8D84DD}" presName="hierChild4" presStyleCnt="0"/>
      <dgm:spPr/>
    </dgm:pt>
    <dgm:pt modelId="{2D9E01C1-F5FF-44EB-804D-7171880BBE16}" type="pres">
      <dgm:prSet presAssocID="{0737315C-7CC1-4700-AB9C-85B3C5ACC334}" presName="Name17" presStyleLbl="parChTrans1D3" presStyleIdx="5" presStyleCnt="6"/>
      <dgm:spPr/>
    </dgm:pt>
    <dgm:pt modelId="{2D263B74-DC8E-4E49-966E-E4DFAB23B9FA}" type="pres">
      <dgm:prSet presAssocID="{CC89D603-6FF4-4594-AA1E-8FCE3361D09A}" presName="hierRoot3" presStyleCnt="0"/>
      <dgm:spPr/>
    </dgm:pt>
    <dgm:pt modelId="{0065D63A-3195-4AB2-9F1B-55D2C1842A58}" type="pres">
      <dgm:prSet presAssocID="{CC89D603-6FF4-4594-AA1E-8FCE3361D09A}" presName="composite3" presStyleCnt="0"/>
      <dgm:spPr/>
    </dgm:pt>
    <dgm:pt modelId="{36025530-198E-47F5-B0AA-E0394C0CE197}" type="pres">
      <dgm:prSet presAssocID="{CC89D603-6FF4-4594-AA1E-8FCE3361D09A}" presName="image3" presStyleLbl="node3" presStyleIdx="5" presStyleCnt="6"/>
      <dgm:spPr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A2C8120D-E388-4450-A948-EE3493DA2B72}" type="pres">
      <dgm:prSet presAssocID="{CC89D603-6FF4-4594-AA1E-8FCE3361D09A}" presName="text3" presStyleLbl="revTx" presStyleIdx="8" presStyleCnt="9">
        <dgm:presLayoutVars>
          <dgm:chPref val="3"/>
        </dgm:presLayoutVars>
      </dgm:prSet>
      <dgm:spPr/>
    </dgm:pt>
    <dgm:pt modelId="{E4F3AEC3-DBBA-4302-BAFC-DF0684A7C27A}" type="pres">
      <dgm:prSet presAssocID="{CC89D603-6FF4-4594-AA1E-8FCE3361D09A}" presName="hierChild4" presStyleCnt="0"/>
      <dgm:spPr/>
    </dgm:pt>
  </dgm:ptLst>
  <dgm:cxnLst>
    <dgm:cxn modelId="{4644C814-DB9F-4027-B55C-C887DD55F35C}" type="presOf" srcId="{B5B0417C-7442-4686-8BD6-3499CB86AE79}" destId="{5DC08294-4695-4F14-8146-F2BC457CC22C}" srcOrd="0" destOrd="0" presId="urn:microsoft.com/office/officeart/2009/layout/CirclePictureHierarchy"/>
    <dgm:cxn modelId="{331CFF1B-F622-4188-A5F3-F43792A2F3A7}" srcId="{BE0281C3-82B7-4EA2-8563-161C8B9929D8}" destId="{066ACAB7-E90C-40B4-AA6F-9954BC803879}" srcOrd="1" destOrd="0" parTransId="{CEDEFB00-9F1A-42A7-B3BD-CF81CA84B97A}" sibTransId="{F6E96B8B-6118-4889-8BB1-56F471E7B231}"/>
    <dgm:cxn modelId="{E76B6D26-CC69-4049-AD7E-D2232C385615}" type="presOf" srcId="{C9476E98-F4BF-49DE-8713-B39A237D7159}" destId="{FF657DC8-2381-42A5-A5AE-A682BB3B091F}" srcOrd="0" destOrd="0" presId="urn:microsoft.com/office/officeart/2009/layout/CirclePictureHierarchy"/>
    <dgm:cxn modelId="{0A64D829-795A-42BE-A01D-3BBF563A4D9B}" type="presOf" srcId="{066ACAB7-E90C-40B4-AA6F-9954BC803879}" destId="{E2704D83-9F76-4C68-83FB-45C29E1E13FE}" srcOrd="0" destOrd="0" presId="urn:microsoft.com/office/officeart/2009/layout/CirclePictureHierarchy"/>
    <dgm:cxn modelId="{00C1D52C-52DF-48F5-B1BD-2E69FE7FBA55}" type="presOf" srcId="{87DCF093-31B6-4A8D-AB52-4D10E33A784E}" destId="{B115841A-B115-44D7-8B5E-5457359D1976}" srcOrd="0" destOrd="0" presId="urn:microsoft.com/office/officeart/2009/layout/CirclePictureHierarchy"/>
    <dgm:cxn modelId="{DAABC846-27D9-4754-9D35-7E8425E60F21}" type="presOf" srcId="{CEDEFB00-9F1A-42A7-B3BD-CF81CA84B97A}" destId="{C92C8D04-9DD5-425E-A86A-3A89E208AEE0}" srcOrd="0" destOrd="0" presId="urn:microsoft.com/office/officeart/2009/layout/CirclePictureHierarchy"/>
    <dgm:cxn modelId="{A7D80E47-65E7-4C84-BCDA-18B0744D054E}" type="presOf" srcId="{A8545E68-7EBD-4403-9F9C-1523540A275A}" destId="{F76971BB-39EB-4C42-ADC1-9259BCA78CE1}" srcOrd="0" destOrd="0" presId="urn:microsoft.com/office/officeart/2009/layout/CirclePictureHierarchy"/>
    <dgm:cxn modelId="{DD4BDF48-F884-4A0A-8872-E797198F6F4E}" type="presOf" srcId="{BE0281C3-82B7-4EA2-8563-161C8B9929D8}" destId="{C2051622-F9AF-42E5-9741-96F763A8A490}" srcOrd="0" destOrd="0" presId="urn:microsoft.com/office/officeart/2009/layout/CirclePictureHierarchy"/>
    <dgm:cxn modelId="{AB8A414B-6267-42B6-9BB9-D8BA39C96E18}" type="presOf" srcId="{EF486D20-8F33-4DE2-9331-3837C2D9E3FF}" destId="{62A3A176-32A5-49AA-A311-622FFD31A832}" srcOrd="0" destOrd="0" presId="urn:microsoft.com/office/officeart/2009/layout/CirclePictureHierarchy"/>
    <dgm:cxn modelId="{2581CF52-6064-493E-A541-290BF1CB9DBA}" type="presOf" srcId="{49B0AAFF-A075-4E3D-B438-E4CBCDC2F999}" destId="{92569523-B8F9-4545-BEBC-3E2B117F147B}" srcOrd="0" destOrd="0" presId="urn:microsoft.com/office/officeart/2009/layout/CirclePictureHierarchy"/>
    <dgm:cxn modelId="{19C02769-0130-4D15-A9DF-09CA565FCA10}" type="presOf" srcId="{96DFE52B-1E89-41D6-8735-62575C518A6E}" destId="{57B4E22F-B9BA-45FC-B4DE-7174EF7B20D1}" srcOrd="0" destOrd="0" presId="urn:microsoft.com/office/officeart/2009/layout/CirclePictureHierarchy"/>
    <dgm:cxn modelId="{FCA4546C-DF8E-45FC-8DC9-E31083871FE6}" type="presOf" srcId="{256BD1A5-1973-4656-9605-010F6FAAD207}" destId="{9E2B1BD5-2408-4CBD-8E48-5FEE3C6A3CD9}" srcOrd="0" destOrd="0" presId="urn:microsoft.com/office/officeart/2009/layout/CirclePictureHierarchy"/>
    <dgm:cxn modelId="{8661866E-47EF-4B38-8DC6-A4B53634D5BD}" type="presOf" srcId="{BC9E165F-5435-4DCD-8274-C0957AD7E96D}" destId="{A467B733-64CF-452B-8910-624B01A51F81}" srcOrd="0" destOrd="0" presId="urn:microsoft.com/office/officeart/2009/layout/CirclePictureHierarchy"/>
    <dgm:cxn modelId="{F716B47F-72D5-4DB6-AFAE-E413715AEDDC}" srcId="{A8545E68-7EBD-4403-9F9C-1523540A275A}" destId="{CC89D603-6FF4-4594-AA1E-8FCE3361D09A}" srcOrd="1" destOrd="0" parTransId="{0737315C-7CC1-4700-AB9C-85B3C5ACC334}" sibTransId="{B84B9147-9BBC-4234-878A-212C79EEC4AA}"/>
    <dgm:cxn modelId="{1E5EA090-6036-47E7-9360-AB0F408AEA41}" srcId="{96DFE52B-1E89-41D6-8735-62575C518A6E}" destId="{7A81036B-5240-4C77-A22B-BC8F0C887F4A}" srcOrd="0" destOrd="0" parTransId="{A5B82574-BE57-4F20-9B63-EBD22EA00516}" sibTransId="{64438890-6827-4AE7-AF6D-658E744E17AB}"/>
    <dgm:cxn modelId="{3FBDAA92-1395-4BF4-8AF7-6B48E5AD7CC8}" srcId="{7A81036B-5240-4C77-A22B-BC8F0C887F4A}" destId="{A8545E68-7EBD-4403-9F9C-1523540A275A}" srcOrd="1" destOrd="0" parTransId="{BC9E165F-5435-4DCD-8274-C0957AD7E96D}" sibTransId="{B785C28A-2D58-4913-9C98-5BC0C20C95E7}"/>
    <dgm:cxn modelId="{0B502BA5-FD48-494E-9E44-A3B9F0B5C443}" srcId="{BE0281C3-82B7-4EA2-8563-161C8B9929D8}" destId="{256BD1A5-1973-4656-9605-010F6FAAD207}" srcOrd="0" destOrd="0" parTransId="{49B0AAFF-A075-4E3D-B438-E4CBCDC2F999}" sibTransId="{D2BAE246-2F35-4197-B237-B53753EFE4FD}"/>
    <dgm:cxn modelId="{608469AD-5292-432A-8109-2D063C290B0F}" type="presOf" srcId="{0737315C-7CC1-4700-AB9C-85B3C5ACC334}" destId="{2D9E01C1-F5FF-44EB-804D-7171880BBE16}" srcOrd="0" destOrd="0" presId="urn:microsoft.com/office/officeart/2009/layout/CirclePictureHierarchy"/>
    <dgm:cxn modelId="{6C35A8CB-A8A9-4DE7-9F28-49AD6CBDF7DE}" type="presOf" srcId="{CC89D603-6FF4-4594-AA1E-8FCE3361D09A}" destId="{A2C8120D-E388-4450-A948-EE3493DA2B72}" srcOrd="0" destOrd="0" presId="urn:microsoft.com/office/officeart/2009/layout/CirclePictureHierarchy"/>
    <dgm:cxn modelId="{99A3E2CB-4C86-48A7-90E6-74BA9F7E4B07}" type="presOf" srcId="{ED76CF76-197E-4FD3-A909-5172EC45C4CA}" destId="{77D86BEF-5CFB-40B6-BA5A-20E9F4182A40}" srcOrd="0" destOrd="0" presId="urn:microsoft.com/office/officeart/2009/layout/CirclePictureHierarchy"/>
    <dgm:cxn modelId="{3F330DD6-C86B-4BD9-9E53-90C1377F766A}" srcId="{A8545E68-7EBD-4403-9F9C-1523540A275A}" destId="{2BECB726-770E-4FB2-B517-A2C27F8D84DD}" srcOrd="0" destOrd="0" parTransId="{EF486D20-8F33-4DE2-9331-3837C2D9E3FF}" sibTransId="{9B546334-25A8-486A-81AF-3C9C0803A8A4}"/>
    <dgm:cxn modelId="{DF697EDB-2C8C-4DB9-80B8-7380A7617556}" type="presOf" srcId="{7A81036B-5240-4C77-A22B-BC8F0C887F4A}" destId="{C596F2FE-B5E4-4CCA-BFAC-280FA291879A}" srcOrd="0" destOrd="0" presId="urn:microsoft.com/office/officeart/2009/layout/CirclePictureHierarchy"/>
    <dgm:cxn modelId="{7FF524E0-F349-4848-8655-A7C78AEB037A}" srcId="{BE0281C3-82B7-4EA2-8563-161C8B9929D8}" destId="{ED76CF76-197E-4FD3-A909-5172EC45C4CA}" srcOrd="3" destOrd="0" parTransId="{B5B0417C-7442-4686-8BD6-3499CB86AE79}" sibTransId="{33EBDB32-A960-410C-A623-2145BF0C4CC9}"/>
    <dgm:cxn modelId="{7EDD30E5-5746-4C88-B288-FAFF85238DA6}" srcId="{7A81036B-5240-4C77-A22B-BC8F0C887F4A}" destId="{BE0281C3-82B7-4EA2-8563-161C8B9929D8}" srcOrd="0" destOrd="0" parTransId="{C9476E98-F4BF-49DE-8713-B39A237D7159}" sibTransId="{65043B6E-F80E-4AE0-82C2-127EBA627B71}"/>
    <dgm:cxn modelId="{3DC5BFEE-4247-40F3-84D8-846C422C9B3F}" type="presOf" srcId="{2BECB726-770E-4FB2-B517-A2C27F8D84DD}" destId="{7ACB1605-5C90-4C84-B1AB-26065830D181}" srcOrd="0" destOrd="0" presId="urn:microsoft.com/office/officeart/2009/layout/CirclePictureHierarchy"/>
    <dgm:cxn modelId="{58FF71FD-7964-4A18-85C4-936E49DF9EC9}" type="presOf" srcId="{29E2763C-C22C-48B9-9038-2E68FE84EFF8}" destId="{1068FA86-BF7E-4AC7-9B46-B4C50DEEB756}" srcOrd="0" destOrd="0" presId="urn:microsoft.com/office/officeart/2009/layout/CirclePictureHierarchy"/>
    <dgm:cxn modelId="{20BC1FFF-4939-453F-8837-B05E690AE3D9}" srcId="{BE0281C3-82B7-4EA2-8563-161C8B9929D8}" destId="{87DCF093-31B6-4A8D-AB52-4D10E33A784E}" srcOrd="2" destOrd="0" parTransId="{29E2763C-C22C-48B9-9038-2E68FE84EFF8}" sibTransId="{3B8C9DA8-5D77-4D8D-9AC3-CED3295980D9}"/>
    <dgm:cxn modelId="{392C0328-DF57-4775-B638-94454A812769}" type="presParOf" srcId="{57B4E22F-B9BA-45FC-B4DE-7174EF7B20D1}" destId="{1A34FB6B-DA5F-44E0-81C2-7664459B1F06}" srcOrd="0" destOrd="0" presId="urn:microsoft.com/office/officeart/2009/layout/CirclePictureHierarchy"/>
    <dgm:cxn modelId="{D349BACE-A280-456B-B3B7-DFB572B79424}" type="presParOf" srcId="{1A34FB6B-DA5F-44E0-81C2-7664459B1F06}" destId="{2C2200F7-5179-4B89-8781-A6856EA6E5B1}" srcOrd="0" destOrd="0" presId="urn:microsoft.com/office/officeart/2009/layout/CirclePictureHierarchy"/>
    <dgm:cxn modelId="{92365788-E09F-4D7C-ADDD-9310B1A16A13}" type="presParOf" srcId="{2C2200F7-5179-4B89-8781-A6856EA6E5B1}" destId="{6382A06F-8186-4A36-9902-FE562712F38B}" srcOrd="0" destOrd="0" presId="urn:microsoft.com/office/officeart/2009/layout/CirclePictureHierarchy"/>
    <dgm:cxn modelId="{4B00BA44-68AC-4952-99DE-795FA0459CAB}" type="presParOf" srcId="{2C2200F7-5179-4B89-8781-A6856EA6E5B1}" destId="{C596F2FE-B5E4-4CCA-BFAC-280FA291879A}" srcOrd="1" destOrd="0" presId="urn:microsoft.com/office/officeart/2009/layout/CirclePictureHierarchy"/>
    <dgm:cxn modelId="{D15F3639-2632-4BBD-8D09-CE68A137493D}" type="presParOf" srcId="{1A34FB6B-DA5F-44E0-81C2-7664459B1F06}" destId="{5FED8438-1505-44FC-9998-7F2A97E6FC40}" srcOrd="1" destOrd="0" presId="urn:microsoft.com/office/officeart/2009/layout/CirclePictureHierarchy"/>
    <dgm:cxn modelId="{10BDDAFA-CFD8-4A6C-AAEB-EA783463E5E8}" type="presParOf" srcId="{5FED8438-1505-44FC-9998-7F2A97E6FC40}" destId="{FF657DC8-2381-42A5-A5AE-A682BB3B091F}" srcOrd="0" destOrd="0" presId="urn:microsoft.com/office/officeart/2009/layout/CirclePictureHierarchy"/>
    <dgm:cxn modelId="{F206FE19-921E-4711-85B2-D76577B78F7F}" type="presParOf" srcId="{5FED8438-1505-44FC-9998-7F2A97E6FC40}" destId="{616EEC87-CACF-4B63-9CE1-5643E45EACB7}" srcOrd="1" destOrd="0" presId="urn:microsoft.com/office/officeart/2009/layout/CirclePictureHierarchy"/>
    <dgm:cxn modelId="{87D05EB2-1E69-4A7E-8767-624D626A459F}" type="presParOf" srcId="{616EEC87-CACF-4B63-9CE1-5643E45EACB7}" destId="{8BDB6974-FE48-4242-BCDA-1D7F1B57E826}" srcOrd="0" destOrd="0" presId="urn:microsoft.com/office/officeart/2009/layout/CirclePictureHierarchy"/>
    <dgm:cxn modelId="{8B9B4836-C1CD-47D4-808A-802EFE702180}" type="presParOf" srcId="{8BDB6974-FE48-4242-BCDA-1D7F1B57E826}" destId="{F5FC8F12-D72B-4A91-BB3F-F2466E9DBE6E}" srcOrd="0" destOrd="0" presId="urn:microsoft.com/office/officeart/2009/layout/CirclePictureHierarchy"/>
    <dgm:cxn modelId="{86416E5D-D1BB-4DBB-A461-B4A97945E73A}" type="presParOf" srcId="{8BDB6974-FE48-4242-BCDA-1D7F1B57E826}" destId="{C2051622-F9AF-42E5-9741-96F763A8A490}" srcOrd="1" destOrd="0" presId="urn:microsoft.com/office/officeart/2009/layout/CirclePictureHierarchy"/>
    <dgm:cxn modelId="{126416ED-81EF-444D-89BD-328FFB008F56}" type="presParOf" srcId="{616EEC87-CACF-4B63-9CE1-5643E45EACB7}" destId="{6712B9CE-7A2D-4F88-9136-3BD2B277DD3C}" srcOrd="1" destOrd="0" presId="urn:microsoft.com/office/officeart/2009/layout/CirclePictureHierarchy"/>
    <dgm:cxn modelId="{1ED3DFE9-FCD5-4D3F-8007-D9982899BD8C}" type="presParOf" srcId="{6712B9CE-7A2D-4F88-9136-3BD2B277DD3C}" destId="{92569523-B8F9-4545-BEBC-3E2B117F147B}" srcOrd="0" destOrd="0" presId="urn:microsoft.com/office/officeart/2009/layout/CirclePictureHierarchy"/>
    <dgm:cxn modelId="{B98F69F7-7DFB-4E34-9A27-EEC6255A8B6B}" type="presParOf" srcId="{6712B9CE-7A2D-4F88-9136-3BD2B277DD3C}" destId="{803E8991-C45A-4BA2-BCFD-D6E7427247BF}" srcOrd="1" destOrd="0" presId="urn:microsoft.com/office/officeart/2009/layout/CirclePictureHierarchy"/>
    <dgm:cxn modelId="{073EF91E-DD8A-4A9D-ABA3-B8CF22091A16}" type="presParOf" srcId="{803E8991-C45A-4BA2-BCFD-D6E7427247BF}" destId="{9AEFD7DF-9DDB-40E9-B9A9-FA4DAE05D254}" srcOrd="0" destOrd="0" presId="urn:microsoft.com/office/officeart/2009/layout/CirclePictureHierarchy"/>
    <dgm:cxn modelId="{CDB88F4F-6F86-4488-A996-BA673BA5751C}" type="presParOf" srcId="{9AEFD7DF-9DDB-40E9-B9A9-FA4DAE05D254}" destId="{724132A4-DC1E-4B72-8E3A-F570024E0BD1}" srcOrd="0" destOrd="0" presId="urn:microsoft.com/office/officeart/2009/layout/CirclePictureHierarchy"/>
    <dgm:cxn modelId="{A59211B0-677D-48A1-A022-56278DD9EE81}" type="presParOf" srcId="{9AEFD7DF-9DDB-40E9-B9A9-FA4DAE05D254}" destId="{9E2B1BD5-2408-4CBD-8E48-5FEE3C6A3CD9}" srcOrd="1" destOrd="0" presId="urn:microsoft.com/office/officeart/2009/layout/CirclePictureHierarchy"/>
    <dgm:cxn modelId="{9C152D99-9FCB-4FF3-9339-91249A2B745E}" type="presParOf" srcId="{803E8991-C45A-4BA2-BCFD-D6E7427247BF}" destId="{B8BEC71D-AA82-4C3A-84CB-74EBC9E1FB8D}" srcOrd="1" destOrd="0" presId="urn:microsoft.com/office/officeart/2009/layout/CirclePictureHierarchy"/>
    <dgm:cxn modelId="{CA4BBAB2-5941-4942-9C38-19677A64C72F}" type="presParOf" srcId="{6712B9CE-7A2D-4F88-9136-3BD2B277DD3C}" destId="{C92C8D04-9DD5-425E-A86A-3A89E208AEE0}" srcOrd="2" destOrd="0" presId="urn:microsoft.com/office/officeart/2009/layout/CirclePictureHierarchy"/>
    <dgm:cxn modelId="{A44681DD-16FB-4BAD-B5CA-6C8951EF03C3}" type="presParOf" srcId="{6712B9CE-7A2D-4F88-9136-3BD2B277DD3C}" destId="{AD428789-5159-42D9-949E-4D70BE44965B}" srcOrd="3" destOrd="0" presId="urn:microsoft.com/office/officeart/2009/layout/CirclePictureHierarchy"/>
    <dgm:cxn modelId="{A9815721-AC0E-4368-B3B9-725FEA138B3D}" type="presParOf" srcId="{AD428789-5159-42D9-949E-4D70BE44965B}" destId="{26764EC1-5FCA-4643-BDC1-2F9FE704889B}" srcOrd="0" destOrd="0" presId="urn:microsoft.com/office/officeart/2009/layout/CirclePictureHierarchy"/>
    <dgm:cxn modelId="{B6950999-12D5-43DE-8FF8-2A678CC59721}" type="presParOf" srcId="{26764EC1-5FCA-4643-BDC1-2F9FE704889B}" destId="{B996CD58-DCB3-4670-84FD-D19CCFBE5F41}" srcOrd="0" destOrd="0" presId="urn:microsoft.com/office/officeart/2009/layout/CirclePictureHierarchy"/>
    <dgm:cxn modelId="{A5C58C9E-01E7-4E51-B965-56CD78B036BA}" type="presParOf" srcId="{26764EC1-5FCA-4643-BDC1-2F9FE704889B}" destId="{E2704D83-9F76-4C68-83FB-45C29E1E13FE}" srcOrd="1" destOrd="0" presId="urn:microsoft.com/office/officeart/2009/layout/CirclePictureHierarchy"/>
    <dgm:cxn modelId="{7D3B2940-E881-4D9E-8CBA-D6A9C0BDAE68}" type="presParOf" srcId="{AD428789-5159-42D9-949E-4D70BE44965B}" destId="{70D0EEEB-93C5-4CAE-BCFF-41B33CCCC6CB}" srcOrd="1" destOrd="0" presId="urn:microsoft.com/office/officeart/2009/layout/CirclePictureHierarchy"/>
    <dgm:cxn modelId="{FCBA7540-F221-49BF-9ECC-1D3A4E7745BB}" type="presParOf" srcId="{6712B9CE-7A2D-4F88-9136-3BD2B277DD3C}" destId="{1068FA86-BF7E-4AC7-9B46-B4C50DEEB756}" srcOrd="4" destOrd="0" presId="urn:microsoft.com/office/officeart/2009/layout/CirclePictureHierarchy"/>
    <dgm:cxn modelId="{8C5615AB-6EF5-4313-8DEE-777D3F8568BC}" type="presParOf" srcId="{6712B9CE-7A2D-4F88-9136-3BD2B277DD3C}" destId="{145C382C-2F23-4AC5-9478-E5B236D8AD87}" srcOrd="5" destOrd="0" presId="urn:microsoft.com/office/officeart/2009/layout/CirclePictureHierarchy"/>
    <dgm:cxn modelId="{803E4E28-C888-4FBD-8487-7B3E23B4FFD3}" type="presParOf" srcId="{145C382C-2F23-4AC5-9478-E5B236D8AD87}" destId="{C49ECFE9-E37A-4BFD-8343-89DE66829D59}" srcOrd="0" destOrd="0" presId="urn:microsoft.com/office/officeart/2009/layout/CirclePictureHierarchy"/>
    <dgm:cxn modelId="{3546EFFD-15FE-41BB-BF98-86FF249B1420}" type="presParOf" srcId="{C49ECFE9-E37A-4BFD-8343-89DE66829D59}" destId="{B7CEEECA-D4DB-4DF9-AF05-A23E6EECDB93}" srcOrd="0" destOrd="0" presId="urn:microsoft.com/office/officeart/2009/layout/CirclePictureHierarchy"/>
    <dgm:cxn modelId="{AED635EA-C939-4C3F-B847-C403DB262EF8}" type="presParOf" srcId="{C49ECFE9-E37A-4BFD-8343-89DE66829D59}" destId="{B115841A-B115-44D7-8B5E-5457359D1976}" srcOrd="1" destOrd="0" presId="urn:microsoft.com/office/officeart/2009/layout/CirclePictureHierarchy"/>
    <dgm:cxn modelId="{B14F6AAE-9D94-40A5-850F-5C3505B6D709}" type="presParOf" srcId="{145C382C-2F23-4AC5-9478-E5B236D8AD87}" destId="{476D8E4F-DBFA-4B08-933B-7CA3DA8B20F6}" srcOrd="1" destOrd="0" presId="urn:microsoft.com/office/officeart/2009/layout/CirclePictureHierarchy"/>
    <dgm:cxn modelId="{0710DD38-572D-4D57-9D28-B32DBF000173}" type="presParOf" srcId="{6712B9CE-7A2D-4F88-9136-3BD2B277DD3C}" destId="{5DC08294-4695-4F14-8146-F2BC457CC22C}" srcOrd="6" destOrd="0" presId="urn:microsoft.com/office/officeart/2009/layout/CirclePictureHierarchy"/>
    <dgm:cxn modelId="{BC1AF225-EC1A-416E-9414-6736312911EA}" type="presParOf" srcId="{6712B9CE-7A2D-4F88-9136-3BD2B277DD3C}" destId="{92FD1E32-8714-4482-A092-CE6FF54C7249}" srcOrd="7" destOrd="0" presId="urn:microsoft.com/office/officeart/2009/layout/CirclePictureHierarchy"/>
    <dgm:cxn modelId="{3D2B65BF-0735-48A2-8D15-B01B44254338}" type="presParOf" srcId="{92FD1E32-8714-4482-A092-CE6FF54C7249}" destId="{8C7198F5-F8BC-41FB-BBDA-5D0576A0B2BD}" srcOrd="0" destOrd="0" presId="urn:microsoft.com/office/officeart/2009/layout/CirclePictureHierarchy"/>
    <dgm:cxn modelId="{CA9E8B6A-9EF9-447F-8E14-F4847FB1FA83}" type="presParOf" srcId="{8C7198F5-F8BC-41FB-BBDA-5D0576A0B2BD}" destId="{FBBA1A11-19C3-42F5-AC81-8497C410A920}" srcOrd="0" destOrd="0" presId="urn:microsoft.com/office/officeart/2009/layout/CirclePictureHierarchy"/>
    <dgm:cxn modelId="{E5322F56-D335-4EA6-8921-8F6CE1D6A358}" type="presParOf" srcId="{8C7198F5-F8BC-41FB-BBDA-5D0576A0B2BD}" destId="{77D86BEF-5CFB-40B6-BA5A-20E9F4182A40}" srcOrd="1" destOrd="0" presId="urn:microsoft.com/office/officeart/2009/layout/CirclePictureHierarchy"/>
    <dgm:cxn modelId="{218C7B6C-D20B-4783-8F16-9F0CEDBE2ECD}" type="presParOf" srcId="{92FD1E32-8714-4482-A092-CE6FF54C7249}" destId="{F85BA22A-64E2-4809-943D-A5E65C4C06C7}" srcOrd="1" destOrd="0" presId="urn:microsoft.com/office/officeart/2009/layout/CirclePictureHierarchy"/>
    <dgm:cxn modelId="{1FC05077-B466-43DD-94DC-A7314E0FA076}" type="presParOf" srcId="{5FED8438-1505-44FC-9998-7F2A97E6FC40}" destId="{A467B733-64CF-452B-8910-624B01A51F81}" srcOrd="2" destOrd="0" presId="urn:microsoft.com/office/officeart/2009/layout/CirclePictureHierarchy"/>
    <dgm:cxn modelId="{2C254DEF-51BE-475C-A4C7-3B593F231A06}" type="presParOf" srcId="{5FED8438-1505-44FC-9998-7F2A97E6FC40}" destId="{A2329219-14A4-496A-8850-275EB03F7428}" srcOrd="3" destOrd="0" presId="urn:microsoft.com/office/officeart/2009/layout/CirclePictureHierarchy"/>
    <dgm:cxn modelId="{4920B3AE-704F-496F-BA35-14709847BB73}" type="presParOf" srcId="{A2329219-14A4-496A-8850-275EB03F7428}" destId="{CDEE0F67-E6E2-499A-8461-1D3BA3323ABA}" srcOrd="0" destOrd="0" presId="urn:microsoft.com/office/officeart/2009/layout/CirclePictureHierarchy"/>
    <dgm:cxn modelId="{A0560141-AFDC-4C8E-8A14-30F891140418}" type="presParOf" srcId="{CDEE0F67-E6E2-499A-8461-1D3BA3323ABA}" destId="{1ECEB71A-9FE2-45F2-BC0E-005FDDCFCE16}" srcOrd="0" destOrd="0" presId="urn:microsoft.com/office/officeart/2009/layout/CirclePictureHierarchy"/>
    <dgm:cxn modelId="{D984FED7-B18D-4840-910B-B7391B01112C}" type="presParOf" srcId="{CDEE0F67-E6E2-499A-8461-1D3BA3323ABA}" destId="{F76971BB-39EB-4C42-ADC1-9259BCA78CE1}" srcOrd="1" destOrd="0" presId="urn:microsoft.com/office/officeart/2009/layout/CirclePictureHierarchy"/>
    <dgm:cxn modelId="{FF1F8C18-8A69-4CA0-8A2D-F5CBD2E3CFBF}" type="presParOf" srcId="{A2329219-14A4-496A-8850-275EB03F7428}" destId="{0F0F1D5B-FC13-4640-B090-F08F3A9CE06A}" srcOrd="1" destOrd="0" presId="urn:microsoft.com/office/officeart/2009/layout/CirclePictureHierarchy"/>
    <dgm:cxn modelId="{50096B1E-5620-45D9-83BD-67E3DD09815D}" type="presParOf" srcId="{0F0F1D5B-FC13-4640-B090-F08F3A9CE06A}" destId="{62A3A176-32A5-49AA-A311-622FFD31A832}" srcOrd="0" destOrd="0" presId="urn:microsoft.com/office/officeart/2009/layout/CirclePictureHierarchy"/>
    <dgm:cxn modelId="{B9FF000D-6C36-44EF-A6AF-F2519462F9D2}" type="presParOf" srcId="{0F0F1D5B-FC13-4640-B090-F08F3A9CE06A}" destId="{EBA91DBB-7C3B-405F-BBFB-DF2933447A80}" srcOrd="1" destOrd="0" presId="urn:microsoft.com/office/officeart/2009/layout/CirclePictureHierarchy"/>
    <dgm:cxn modelId="{8A1DEA9F-4596-4839-AB79-904483BFCC3C}" type="presParOf" srcId="{EBA91DBB-7C3B-405F-BBFB-DF2933447A80}" destId="{79109DF4-A04A-4CA1-91BA-1D6F42AA566E}" srcOrd="0" destOrd="0" presId="urn:microsoft.com/office/officeart/2009/layout/CirclePictureHierarchy"/>
    <dgm:cxn modelId="{187F6157-FC80-47CB-ADE0-1D567576F43F}" type="presParOf" srcId="{79109DF4-A04A-4CA1-91BA-1D6F42AA566E}" destId="{0E3BBD64-8353-4B82-9070-847A063020DB}" srcOrd="0" destOrd="0" presId="urn:microsoft.com/office/officeart/2009/layout/CirclePictureHierarchy"/>
    <dgm:cxn modelId="{BACC7BA1-94C8-4E22-BFAE-65B7593DFF13}" type="presParOf" srcId="{79109DF4-A04A-4CA1-91BA-1D6F42AA566E}" destId="{7ACB1605-5C90-4C84-B1AB-26065830D181}" srcOrd="1" destOrd="0" presId="urn:microsoft.com/office/officeart/2009/layout/CirclePictureHierarchy"/>
    <dgm:cxn modelId="{691798E3-D25F-4AAF-8DBC-5B76894BB995}" type="presParOf" srcId="{EBA91DBB-7C3B-405F-BBFB-DF2933447A80}" destId="{A19EF568-1974-425A-8C4B-4378293487A8}" srcOrd="1" destOrd="0" presId="urn:microsoft.com/office/officeart/2009/layout/CirclePictureHierarchy"/>
    <dgm:cxn modelId="{A83102A6-B82C-435D-B8E7-0095ED4CE404}" type="presParOf" srcId="{0F0F1D5B-FC13-4640-B090-F08F3A9CE06A}" destId="{2D9E01C1-F5FF-44EB-804D-7171880BBE16}" srcOrd="2" destOrd="0" presId="urn:microsoft.com/office/officeart/2009/layout/CirclePictureHierarchy"/>
    <dgm:cxn modelId="{FA5EBDD2-30D9-4639-A97B-3195578E8701}" type="presParOf" srcId="{0F0F1D5B-FC13-4640-B090-F08F3A9CE06A}" destId="{2D263B74-DC8E-4E49-966E-E4DFAB23B9FA}" srcOrd="3" destOrd="0" presId="urn:microsoft.com/office/officeart/2009/layout/CirclePictureHierarchy"/>
    <dgm:cxn modelId="{E706B374-BBDF-44EC-9B9F-4E4187C1D70E}" type="presParOf" srcId="{2D263B74-DC8E-4E49-966E-E4DFAB23B9FA}" destId="{0065D63A-3195-4AB2-9F1B-55D2C1842A58}" srcOrd="0" destOrd="0" presId="urn:microsoft.com/office/officeart/2009/layout/CirclePictureHierarchy"/>
    <dgm:cxn modelId="{3A0253D6-E063-4447-ACF1-9CCC0A78FD34}" type="presParOf" srcId="{0065D63A-3195-4AB2-9F1B-55D2C1842A58}" destId="{36025530-198E-47F5-B0AA-E0394C0CE197}" srcOrd="0" destOrd="0" presId="urn:microsoft.com/office/officeart/2009/layout/CirclePictureHierarchy"/>
    <dgm:cxn modelId="{5D869E44-4018-4973-86AA-3CE81863A51B}" type="presParOf" srcId="{0065D63A-3195-4AB2-9F1B-55D2C1842A58}" destId="{A2C8120D-E388-4450-A948-EE3493DA2B72}" srcOrd="1" destOrd="0" presId="urn:microsoft.com/office/officeart/2009/layout/CirclePictureHierarchy"/>
    <dgm:cxn modelId="{BF08416C-C5D9-4D96-8685-F4BA90D82E45}" type="presParOf" srcId="{2D263B74-DC8E-4E49-966E-E4DFAB23B9FA}" destId="{E4F3AEC3-DBBA-4302-BAFC-DF0684A7C27A}" srcOrd="1" destOrd="0" presId="urn:microsoft.com/office/officeart/2009/layout/CirclePicture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9E01C1-F5FF-44EB-804D-7171880BBE16}">
      <dsp:nvSpPr>
        <dsp:cNvPr id="0" name=""/>
        <dsp:cNvSpPr/>
      </dsp:nvSpPr>
      <dsp:spPr>
        <a:xfrm>
          <a:off x="5571085" y="1532751"/>
          <a:ext cx="594878" cy="13628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8681"/>
              </a:lnTo>
              <a:lnTo>
                <a:pt x="594878" y="68681"/>
              </a:lnTo>
              <a:lnTo>
                <a:pt x="594878" y="13628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A3A176-32A5-49AA-A311-622FFD31A832}">
      <dsp:nvSpPr>
        <dsp:cNvPr id="0" name=""/>
        <dsp:cNvSpPr/>
      </dsp:nvSpPr>
      <dsp:spPr>
        <a:xfrm>
          <a:off x="4976207" y="1532751"/>
          <a:ext cx="594878" cy="136281"/>
        </a:xfrm>
        <a:custGeom>
          <a:avLst/>
          <a:gdLst/>
          <a:ahLst/>
          <a:cxnLst/>
          <a:rect l="0" t="0" r="0" b="0"/>
          <a:pathLst>
            <a:path>
              <a:moveTo>
                <a:pt x="594878" y="0"/>
              </a:moveTo>
              <a:lnTo>
                <a:pt x="594878" y="68681"/>
              </a:lnTo>
              <a:lnTo>
                <a:pt x="0" y="68681"/>
              </a:lnTo>
              <a:lnTo>
                <a:pt x="0" y="13628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67B733-64CF-452B-8910-624B01A51F81}">
      <dsp:nvSpPr>
        <dsp:cNvPr id="0" name=""/>
        <dsp:cNvSpPr/>
      </dsp:nvSpPr>
      <dsp:spPr>
        <a:xfrm>
          <a:off x="3786449" y="963831"/>
          <a:ext cx="1784635" cy="13628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8681"/>
              </a:lnTo>
              <a:lnTo>
                <a:pt x="1784635" y="68681"/>
              </a:lnTo>
              <a:lnTo>
                <a:pt x="1784635" y="13628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DC08294-4695-4F14-8146-F2BC457CC22C}">
      <dsp:nvSpPr>
        <dsp:cNvPr id="0" name=""/>
        <dsp:cNvSpPr/>
      </dsp:nvSpPr>
      <dsp:spPr>
        <a:xfrm>
          <a:off x="2001813" y="1532751"/>
          <a:ext cx="1784635" cy="13628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8681"/>
              </a:lnTo>
              <a:lnTo>
                <a:pt x="1784635" y="68681"/>
              </a:lnTo>
              <a:lnTo>
                <a:pt x="1784635" y="13628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68FA86-BF7E-4AC7-9B46-B4C50DEEB756}">
      <dsp:nvSpPr>
        <dsp:cNvPr id="0" name=""/>
        <dsp:cNvSpPr/>
      </dsp:nvSpPr>
      <dsp:spPr>
        <a:xfrm>
          <a:off x="2001813" y="1532751"/>
          <a:ext cx="594878" cy="13628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8681"/>
              </a:lnTo>
              <a:lnTo>
                <a:pt x="594878" y="68681"/>
              </a:lnTo>
              <a:lnTo>
                <a:pt x="594878" y="13628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2C8D04-9DD5-425E-A86A-3A89E208AEE0}">
      <dsp:nvSpPr>
        <dsp:cNvPr id="0" name=""/>
        <dsp:cNvSpPr/>
      </dsp:nvSpPr>
      <dsp:spPr>
        <a:xfrm>
          <a:off x="1406935" y="1532751"/>
          <a:ext cx="594878" cy="136281"/>
        </a:xfrm>
        <a:custGeom>
          <a:avLst/>
          <a:gdLst/>
          <a:ahLst/>
          <a:cxnLst/>
          <a:rect l="0" t="0" r="0" b="0"/>
          <a:pathLst>
            <a:path>
              <a:moveTo>
                <a:pt x="594878" y="0"/>
              </a:moveTo>
              <a:lnTo>
                <a:pt x="594878" y="68681"/>
              </a:lnTo>
              <a:lnTo>
                <a:pt x="0" y="68681"/>
              </a:lnTo>
              <a:lnTo>
                <a:pt x="0" y="13628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569523-B8F9-4545-BEBC-3E2B117F147B}">
      <dsp:nvSpPr>
        <dsp:cNvPr id="0" name=""/>
        <dsp:cNvSpPr/>
      </dsp:nvSpPr>
      <dsp:spPr>
        <a:xfrm>
          <a:off x="217177" y="1532751"/>
          <a:ext cx="1784635" cy="136281"/>
        </a:xfrm>
        <a:custGeom>
          <a:avLst/>
          <a:gdLst/>
          <a:ahLst/>
          <a:cxnLst/>
          <a:rect l="0" t="0" r="0" b="0"/>
          <a:pathLst>
            <a:path>
              <a:moveTo>
                <a:pt x="1784635" y="0"/>
              </a:moveTo>
              <a:lnTo>
                <a:pt x="1784635" y="68681"/>
              </a:lnTo>
              <a:lnTo>
                <a:pt x="0" y="68681"/>
              </a:lnTo>
              <a:lnTo>
                <a:pt x="0" y="13628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657DC8-2381-42A5-A5AE-A682BB3B091F}">
      <dsp:nvSpPr>
        <dsp:cNvPr id="0" name=""/>
        <dsp:cNvSpPr/>
      </dsp:nvSpPr>
      <dsp:spPr>
        <a:xfrm>
          <a:off x="2001813" y="963831"/>
          <a:ext cx="1784635" cy="136281"/>
        </a:xfrm>
        <a:custGeom>
          <a:avLst/>
          <a:gdLst/>
          <a:ahLst/>
          <a:cxnLst/>
          <a:rect l="0" t="0" r="0" b="0"/>
          <a:pathLst>
            <a:path>
              <a:moveTo>
                <a:pt x="1784635" y="0"/>
              </a:moveTo>
              <a:lnTo>
                <a:pt x="1784635" y="68681"/>
              </a:lnTo>
              <a:lnTo>
                <a:pt x="0" y="68681"/>
              </a:lnTo>
              <a:lnTo>
                <a:pt x="0" y="13628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82A06F-8186-4A36-9902-FE562712F38B}">
      <dsp:nvSpPr>
        <dsp:cNvPr id="0" name=""/>
        <dsp:cNvSpPr/>
      </dsp:nvSpPr>
      <dsp:spPr>
        <a:xfrm>
          <a:off x="3570130" y="531192"/>
          <a:ext cx="432639" cy="432639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96F2FE-B5E4-4CCA-BFAC-280FA291879A}">
      <dsp:nvSpPr>
        <dsp:cNvPr id="0" name=""/>
        <dsp:cNvSpPr/>
      </dsp:nvSpPr>
      <dsp:spPr>
        <a:xfrm>
          <a:off x="4002769" y="530110"/>
          <a:ext cx="648958" cy="4326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700" kern="1200" dirty="0" err="1"/>
            <a:t>Jfrog</a:t>
          </a:r>
          <a:r>
            <a:rPr lang="es-ES" sz="700" kern="1200" dirty="0"/>
            <a:t> </a:t>
          </a:r>
          <a:r>
            <a:rPr lang="es-ES" sz="700" kern="1200" dirty="0" err="1"/>
            <a:t>Artifactory</a:t>
          </a:r>
          <a:r>
            <a:rPr lang="es-ES" sz="700" kern="1200" dirty="0"/>
            <a:t> / </a:t>
          </a:r>
          <a:r>
            <a:rPr lang="es-ES" sz="700" kern="1200" dirty="0" err="1"/>
            <a:t>Container</a:t>
          </a:r>
          <a:r>
            <a:rPr lang="es-ES" sz="700" kern="1200" dirty="0"/>
            <a:t> </a:t>
          </a:r>
          <a:r>
            <a:rPr lang="es-ES" sz="700" kern="1200" dirty="0" err="1"/>
            <a:t>Registry</a:t>
          </a:r>
          <a:endParaRPr lang="es-ES" sz="700" kern="1200" dirty="0"/>
        </a:p>
      </dsp:txBody>
      <dsp:txXfrm>
        <a:off x="4002769" y="530110"/>
        <a:ext cx="648958" cy="432639"/>
      </dsp:txXfrm>
    </dsp:sp>
    <dsp:sp modelId="{F5FC8F12-D72B-4A91-BB3F-F2466E9DBE6E}">
      <dsp:nvSpPr>
        <dsp:cNvPr id="0" name=""/>
        <dsp:cNvSpPr/>
      </dsp:nvSpPr>
      <dsp:spPr>
        <a:xfrm>
          <a:off x="1785494" y="1100112"/>
          <a:ext cx="432639" cy="432639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051622-F9AF-42E5-9741-96F763A8A490}">
      <dsp:nvSpPr>
        <dsp:cNvPr id="0" name=""/>
        <dsp:cNvSpPr/>
      </dsp:nvSpPr>
      <dsp:spPr>
        <a:xfrm>
          <a:off x="2218133" y="1099031"/>
          <a:ext cx="648958" cy="4326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700" kern="1200"/>
            <a:t>Artefactos</a:t>
          </a:r>
        </a:p>
      </dsp:txBody>
      <dsp:txXfrm>
        <a:off x="2218133" y="1099031"/>
        <a:ext cx="648958" cy="432639"/>
      </dsp:txXfrm>
    </dsp:sp>
    <dsp:sp modelId="{724132A4-DC1E-4B72-8E3A-F570024E0BD1}">
      <dsp:nvSpPr>
        <dsp:cNvPr id="0" name=""/>
        <dsp:cNvSpPr/>
      </dsp:nvSpPr>
      <dsp:spPr>
        <a:xfrm>
          <a:off x="858" y="1669033"/>
          <a:ext cx="432639" cy="432639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8000" r="-8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2B1BD5-2408-4CBD-8E48-5FEE3C6A3CD9}">
      <dsp:nvSpPr>
        <dsp:cNvPr id="0" name=""/>
        <dsp:cNvSpPr/>
      </dsp:nvSpPr>
      <dsp:spPr>
        <a:xfrm>
          <a:off x="433497" y="1667951"/>
          <a:ext cx="648958" cy="4326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700" kern="1200" dirty="0"/>
            <a:t>Maven</a:t>
          </a:r>
        </a:p>
      </dsp:txBody>
      <dsp:txXfrm>
        <a:off x="433497" y="1667951"/>
        <a:ext cx="648958" cy="432639"/>
      </dsp:txXfrm>
    </dsp:sp>
    <dsp:sp modelId="{B996CD58-DCB3-4670-84FD-D19CCFBE5F41}">
      <dsp:nvSpPr>
        <dsp:cNvPr id="0" name=""/>
        <dsp:cNvSpPr/>
      </dsp:nvSpPr>
      <dsp:spPr>
        <a:xfrm>
          <a:off x="1190615" y="1669033"/>
          <a:ext cx="432639" cy="432639"/>
        </a:xfrm>
        <a:prstGeom prst="ellipse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8000" r="-78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704D83-9F76-4C68-83FB-45C29E1E13FE}">
      <dsp:nvSpPr>
        <dsp:cNvPr id="0" name=""/>
        <dsp:cNvSpPr/>
      </dsp:nvSpPr>
      <dsp:spPr>
        <a:xfrm>
          <a:off x="1623254" y="1667951"/>
          <a:ext cx="648958" cy="4326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700" kern="1200" err="1"/>
            <a:t>Npm</a:t>
          </a:r>
          <a:endParaRPr lang="es-ES" sz="700" kern="1200"/>
        </a:p>
      </dsp:txBody>
      <dsp:txXfrm>
        <a:off x="1623254" y="1667951"/>
        <a:ext cx="648958" cy="432639"/>
      </dsp:txXfrm>
    </dsp:sp>
    <dsp:sp modelId="{B7CEEECA-D4DB-4DF9-AF05-A23E6EECDB93}">
      <dsp:nvSpPr>
        <dsp:cNvPr id="0" name=""/>
        <dsp:cNvSpPr/>
      </dsp:nvSpPr>
      <dsp:spPr>
        <a:xfrm>
          <a:off x="2380373" y="1669033"/>
          <a:ext cx="432639" cy="432639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15841A-B115-44D7-8B5E-5457359D1976}">
      <dsp:nvSpPr>
        <dsp:cNvPr id="0" name=""/>
        <dsp:cNvSpPr/>
      </dsp:nvSpPr>
      <dsp:spPr>
        <a:xfrm>
          <a:off x="2813012" y="1667951"/>
          <a:ext cx="648958" cy="4326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700" kern="1200" dirty="0" err="1"/>
            <a:t>Helm</a:t>
          </a:r>
          <a:endParaRPr lang="es-ES" sz="700" kern="1200" dirty="0"/>
        </a:p>
      </dsp:txBody>
      <dsp:txXfrm>
        <a:off x="2813012" y="1667951"/>
        <a:ext cx="648958" cy="432639"/>
      </dsp:txXfrm>
    </dsp:sp>
    <dsp:sp modelId="{FBBA1A11-19C3-42F5-AC81-8497C410A920}">
      <dsp:nvSpPr>
        <dsp:cNvPr id="0" name=""/>
        <dsp:cNvSpPr/>
      </dsp:nvSpPr>
      <dsp:spPr>
        <a:xfrm>
          <a:off x="3570130" y="1669033"/>
          <a:ext cx="432639" cy="432639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D86BEF-5CFB-40B6-BA5A-20E9F4182A40}">
      <dsp:nvSpPr>
        <dsp:cNvPr id="0" name=""/>
        <dsp:cNvSpPr/>
      </dsp:nvSpPr>
      <dsp:spPr>
        <a:xfrm>
          <a:off x="4002769" y="1667951"/>
          <a:ext cx="648958" cy="4326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700" kern="1200"/>
            <a:t>…</a:t>
          </a:r>
        </a:p>
      </dsp:txBody>
      <dsp:txXfrm>
        <a:off x="4002769" y="1667951"/>
        <a:ext cx="648958" cy="432639"/>
      </dsp:txXfrm>
    </dsp:sp>
    <dsp:sp modelId="{1ECEB71A-9FE2-45F2-BC0E-005FDDCFCE16}">
      <dsp:nvSpPr>
        <dsp:cNvPr id="0" name=""/>
        <dsp:cNvSpPr/>
      </dsp:nvSpPr>
      <dsp:spPr>
        <a:xfrm>
          <a:off x="5354766" y="1100112"/>
          <a:ext cx="432639" cy="432639"/>
        </a:xfrm>
        <a:prstGeom prst="ellipse">
          <a:avLst/>
        </a:prstGeom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6971BB-39EB-4C42-ADC1-9259BCA78CE1}">
      <dsp:nvSpPr>
        <dsp:cNvPr id="0" name=""/>
        <dsp:cNvSpPr/>
      </dsp:nvSpPr>
      <dsp:spPr>
        <a:xfrm>
          <a:off x="5787405" y="1099031"/>
          <a:ext cx="648958" cy="4326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700" kern="1200"/>
            <a:t>Imágenes</a:t>
          </a:r>
        </a:p>
      </dsp:txBody>
      <dsp:txXfrm>
        <a:off x="5787405" y="1099031"/>
        <a:ext cx="648958" cy="432639"/>
      </dsp:txXfrm>
    </dsp:sp>
    <dsp:sp modelId="{0E3BBD64-8353-4B82-9070-847A063020DB}">
      <dsp:nvSpPr>
        <dsp:cNvPr id="0" name=""/>
        <dsp:cNvSpPr/>
      </dsp:nvSpPr>
      <dsp:spPr>
        <a:xfrm>
          <a:off x="4759887" y="1669033"/>
          <a:ext cx="432639" cy="432639"/>
        </a:xfrm>
        <a:prstGeom prst="ellipse">
          <a:avLst/>
        </a:prstGeom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CB1605-5C90-4C84-B1AB-26065830D181}">
      <dsp:nvSpPr>
        <dsp:cNvPr id="0" name=""/>
        <dsp:cNvSpPr/>
      </dsp:nvSpPr>
      <dsp:spPr>
        <a:xfrm>
          <a:off x="5192526" y="1667951"/>
          <a:ext cx="648958" cy="4326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700" kern="1200"/>
            <a:t>Herramientas</a:t>
          </a:r>
        </a:p>
      </dsp:txBody>
      <dsp:txXfrm>
        <a:off x="5192526" y="1667951"/>
        <a:ext cx="648958" cy="432639"/>
      </dsp:txXfrm>
    </dsp:sp>
    <dsp:sp modelId="{36025530-198E-47F5-B0AA-E0394C0CE197}">
      <dsp:nvSpPr>
        <dsp:cNvPr id="0" name=""/>
        <dsp:cNvSpPr/>
      </dsp:nvSpPr>
      <dsp:spPr>
        <a:xfrm>
          <a:off x="5949645" y="1669033"/>
          <a:ext cx="432639" cy="432639"/>
        </a:xfrm>
        <a:prstGeom prst="ellipse">
          <a:avLst/>
        </a:prstGeom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2C8120D-E388-4450-A948-EE3493DA2B72}">
      <dsp:nvSpPr>
        <dsp:cNvPr id="0" name=""/>
        <dsp:cNvSpPr/>
      </dsp:nvSpPr>
      <dsp:spPr>
        <a:xfrm>
          <a:off x="6382284" y="1667951"/>
          <a:ext cx="648958" cy="4326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700" kern="1200"/>
            <a:t>Aplicaciones</a:t>
          </a:r>
        </a:p>
      </dsp:txBody>
      <dsp:txXfrm>
        <a:off x="6382284" y="1667951"/>
        <a:ext cx="648958" cy="4326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PictureHierarchy">
  <dgm:title val=""/>
  <dgm:desc val=""/>
  <dgm:catLst>
    <dgm:cat type="hierarchy" pri="1750"/>
    <dgm:cat type="picture" pri="23000"/>
    <dgm:cat type="pictureconvert" pri="2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5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h" for="ch" forName="image" refType="h" fact="0.8"/>
              <dgm:constr type="w" for="ch" forName="image" refType="h" refFor="ch" refForName="image"/>
              <dgm:constr type="t" for="ch" forName="image" refType="h" fact="0.1"/>
              <dgm:constr type="l" for="ch" forName="image"/>
              <dgm:constr type="w" for="ch" forName="text" refType="w" fact="0.6"/>
              <dgm:constr type="h" for="ch" forName="text" refType="h" fact="0.8"/>
              <dgm:constr type="t" for="ch" forName="text" refType="w" fact="0.04"/>
              <dgm:constr type="l" for="ch" forName="text" refType="w" fact="0.4"/>
            </dgm:constrLst>
            <dgm:ruleLst/>
            <dgm:layoutNode name="image" styleLbl="node0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  <dgm:layoutNode name="text" styleLbl="revTx">
              <dgm:varLst>
                <dgm:chPref val="3"/>
              </dgm:varLst>
              <dgm:alg type="tx">
                <dgm:param type="parTxLTRAlign" val="l"/>
                <dgm:param type="parTxRTLAlign" val="r"/>
              </dgm:alg>
              <dgm:shape xmlns:r="http://schemas.openxmlformats.org/officeDocument/2006/relationships" type="rect" r:blip="">
                <dgm:adjLst/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image"/>
                    <dgm:param type="dstNode" val="image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h" for="ch" forName="image2" refType="h" fact="0.8"/>
                      <dgm:constr type="w" for="ch" forName="image2" refType="h" refFor="ch" refForName="image2"/>
                      <dgm:constr type="t" for="ch" forName="image2" refType="h" fact="0.1"/>
                      <dgm:constr type="l" for="ch" forName="image2"/>
                      <dgm:constr type="w" for="ch" forName="text2" refType="w" fact="0.6"/>
                      <dgm:constr type="h" for="ch" forName="text2" refType="h" fact="0.8"/>
                      <dgm:constr type="t" for="ch" forName="text2" refType="w" fact="0.04"/>
                      <dgm:constr type="l" for="ch" forName="text2" refType="w" fact="0.4"/>
                    </dgm:constrLst>
                    <dgm:ruleLst/>
                    <dgm:layoutNode name="image2">
                      <dgm:alg type="sp"/>
                      <dgm:shape xmlns:r="http://schemas.openxmlformats.org/officeDocument/2006/relationships" type="ellipse" r:blip="" blipPhldr="1">
                        <dgm:adjLst/>
                      </dgm:shape>
                      <dgm:presOf/>
                      <dgm:constrLst/>
                      <dgm:ruleLst/>
                    </dgm:layoutNode>
                    <dgm:layoutNode name="text2" styleLbl="revTx">
                      <dgm:varLst>
                        <dgm:chPref val="3"/>
                      </dgm:varLst>
                      <dgm:alg type="tx">
                        <dgm:param type="parTxLTRAlign" val="l"/>
                        <dgm:param type="parTxRTLAlign" val="r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image2"/>
                            <dgm:param type="dstNode" val="image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h" for="ch" forName="image3" refType="h" fact="0.8"/>
                              <dgm:constr type="w" for="ch" forName="image3" refType="h" refFor="ch" refForName="image3"/>
                              <dgm:constr type="t" for="ch" forName="image3" refType="h" fact="0.1"/>
                              <dgm:constr type="l" for="ch" forName="image3"/>
                              <dgm:constr type="w" for="ch" forName="text3" refType="w" fact="0.6"/>
                              <dgm:constr type="h" for="ch" forName="text3" refType="h" fact="0.8"/>
                              <dgm:constr type="t" for="ch" forName="text3" refType="w" fact="0.04"/>
                              <dgm:constr type="l" for="ch" forName="text3" refType="w" fact="0.4"/>
                            </dgm:constrLst>
                            <dgm:ruleLst/>
                            <dgm:layoutNode name="image3">
                              <dgm:alg type="sp"/>
                              <dgm:shape xmlns:r="http://schemas.openxmlformats.org/officeDocument/2006/relationships" type="ellipse" r:blip="" blipPhldr="1">
                                <dgm:adjLst/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revTx">
                              <dgm:varLst>
                                <dgm:chPref val="3"/>
                              </dgm:varLst>
                              <dgm:alg type="tx">
                                <dgm:param type="parTxLTRAlign" val="l"/>
                                <dgm:param type="parTxRTLAlign" val="r"/>
                              </dgm:alg>
                              <dgm:shape xmlns:r="http://schemas.openxmlformats.org/officeDocument/2006/relationships" type="rect" r:blip="">
                                <dgm:adjLst/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3"/>
                                        <dgm:param type="dstNode" val="image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4"/>
                                        <dgm:param type="dstNode" val="image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h" for="ch" forName="image4" refType="h" fact="0.8"/>
                                      <dgm:constr type="w" for="ch" forName="image4" refType="h" refFor="ch" refForName="image4"/>
                                      <dgm:constr type="t" for="ch" forName="image4" refType="h" fact="0.1"/>
                                      <dgm:constr type="l" for="ch" forName="image4"/>
                                      <dgm:constr type="w" for="ch" forName="text4" refType="w" fact="0.6"/>
                                      <dgm:constr type="h" for="ch" forName="text4" refType="h" fact="0.8"/>
                                      <dgm:constr type="t" for="ch" forName="text4" refType="w" fact="0.04"/>
                                      <dgm:constr type="l" for="ch" forName="text4" refType="w" fact="0.4"/>
                                    </dgm:constrLst>
                                    <dgm:ruleLst/>
                                    <dgm:layoutNode name="image4">
                                      <dgm:alg type="sp"/>
                                      <dgm:shape xmlns:r="http://schemas.openxmlformats.org/officeDocument/2006/relationships" type="ellipse" r:blip="" blipPhldr="1">
                                        <dgm:adjLst/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revTx">
                                      <dgm:varLst>
                                        <dgm:chPref val="3"/>
                                      </dgm:varLst>
                                      <dgm:alg type="tx">
                                        <dgm:param type="parTxLTRAlign" val="l"/>
                                        <dgm:param type="parTxRTLAlign" val="r"/>
                                      </dgm:alg>
                                      <dgm:shape xmlns:r="http://schemas.openxmlformats.org/officeDocument/2006/relationships" type="rect" r:blip="">
                                        <dgm:adjLst/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D5B29DC9-D08B-4949-81E2-39C6CEC68F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/>
            </a:lvl1pPr>
          </a:lstStyle>
          <a:p>
            <a:endParaRPr lang="es-ES">
              <a:latin typeface="Soho Gothic Pro Light" panose="020B0303030504020204" pitchFamily="34" charset="0"/>
            </a:endParaRP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99F9DC3-28BB-D94C-85E9-90396F03A5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Soho Gothic Pro Light" panose="020B0303030504020204" pitchFamily="34" charset="0"/>
              </a:rPr>
              <a:pPr/>
              <a:t>19/8/22</a:t>
            </a:fld>
            <a:endParaRPr lang="es-ES">
              <a:latin typeface="Soho Gothic Pro Light" panose="020B030303050402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33F6B1-C943-874F-81C8-5CB8F4F2E2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/>
            </a:lvl1pPr>
          </a:lstStyle>
          <a:p>
            <a:endParaRPr lang="es-ES">
              <a:latin typeface="Soho Gothic Pro Light" panose="020B0303030504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B7C242-1592-974F-B931-024110D2C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Soho Gothic Pro Light" panose="020B0303030504020204" pitchFamily="34" charset="0"/>
              </a:rPr>
              <a:pPr/>
              <a:t>‹Nº›</a:t>
            </a:fld>
            <a:endParaRPr lang="es-ES">
              <a:latin typeface="Soho Gothic Pro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596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pPr/>
              <a:t>19/8/22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5" tIns="46173" rIns="92345" bIns="46173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2345" tIns="46173" rIns="92345" bIns="46173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7001BFE9-5FDD-E045-9186-025D41341214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6423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oho Gothic Pro Light" panose="020B030303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Google Shape;709;g72ae6a19a1_1_1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710" name="Google Shape;710;g72ae6a19a1_1_1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516929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08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00"/>
            </a:lvl1pPr>
          </a:lstStyle>
          <a:p>
            <a:r>
              <a:rPr lang="es-ES"/>
              <a:t>Haga clic para el título princip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12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371563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204794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566157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677049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/>
            </a:lvl1pPr>
          </a:lstStyle>
          <a:p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914225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167774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333125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1141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146948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773900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480893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27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286929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5" y="1066236"/>
            <a:ext cx="56729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/>
            </a:lvl1pPr>
          </a:lstStyle>
          <a:p>
            <a:r>
              <a:rPr lang="es-ES"/>
              <a:t>Haga clic para el título princip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4745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658536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794499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>
              <a:solidFill>
                <a:schemeClr val="tx1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37221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64959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>
              <a:solidFill>
                <a:schemeClr val="tx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647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2673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826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511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323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823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821522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/>
            </a:lvl1pPr>
          </a:lstStyle>
          <a:p>
            <a:r>
              <a:rPr lang="es-ES"/>
              <a:t>Haga clic para el título principal</a:t>
            </a:r>
            <a:endParaRPr lang="en-US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0" y="3639821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64250" y="4752975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8758" y="4589244"/>
            <a:ext cx="1346367" cy="267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5362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3252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4" name="Objeto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>
              <a:solidFill>
                <a:schemeClr val="tx1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7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121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716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3" name="Objeto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5859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3" name="Objeto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5054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968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3" name="Objeto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  <p:sp>
        <p:nvSpPr>
          <p:cNvPr id="16" name="Marcador de contenido 10">
            <a:extLst>
              <a:ext uri="{FF2B5EF4-FFF2-40B4-BE49-F238E27FC236}">
                <a16:creationId xmlns:a16="http://schemas.microsoft.com/office/drawing/2014/main" id="{0C194904-1155-C145-AF21-9523E0FA07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id="{52E522FF-C13F-634D-89C8-C317FCB3F1F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/>
              <a:t>Haga clic para agregar un subtítulo a esta página, cuentas con dos líneas para títulos  extensos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3" name="Objeto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id="{E8FEC0EA-9253-2E4E-B410-5217929936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id="{3A1B077C-37B5-A248-ADB5-E4A0B84B173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/>
              <a:t>Haga clic para agregar un subtítulo a esta página, cuentas con dos líneas para títulos  extensos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773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11" name="Objeto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486818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41174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1629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11" name="Objeto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486818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41174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4617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088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3" name="Objeto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9203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3" name="Objeto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7861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9375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3" name="Objeto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1118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8113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">
                  <p:embed/>
                </p:oleObj>
              </mc:Choice>
              <mc:Fallback>
                <p:oleObj name="Diapositiva de think-cell" r:id="rId3" imgW="360" imgH="360" progId="">
                  <p:embed/>
                  <p:pic>
                    <p:nvPicPr>
                      <p:cNvPr id="2" name="Obje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87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/>
            </a:lvl1pPr>
          </a:lstStyle>
          <a:p>
            <a:r>
              <a:rPr lang="es-ES"/>
              <a:t>Índic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018B0F5-D5A7-3D44-88C1-EDB81DC7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5224" y="4757035"/>
            <a:ext cx="968375" cy="10071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Soho Gothic Pro" panose="020B0503030504020204" pitchFamily="34" charset="77"/>
              </a:defRPr>
            </a:lvl1pPr>
          </a:lstStyle>
          <a:p>
            <a:fld id="{A5078871-D93F-4D40-B540-DC74CFDF655C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F6C55DCE-A9B0-2243-80CD-2F30EC5EF5A4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id="{00D88BD8-9E72-844D-A3E4-A145CC1FC878}"/>
              </a:ext>
            </a:extLst>
          </p:cNvPr>
          <p:cNvSpPr/>
          <p:nvPr userDrawn="1"/>
        </p:nvSpPr>
        <p:spPr>
          <a:xfrm>
            <a:off x="2097272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Forma libre 7">
            <a:extLst>
              <a:ext uri="{FF2B5EF4-FFF2-40B4-BE49-F238E27FC236}">
                <a16:creationId xmlns:a16="http://schemas.microsoft.com/office/drawing/2014/main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653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3" name="Objeto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3212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400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3" name="Objeto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2381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3" name="Objeto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1453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892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3" name="Objeto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0259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3" name="Objeto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9224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Marcador de posición de imagen 7">
            <a:extLst>
              <a:ext uri="{FF2B5EF4-FFF2-40B4-BE49-F238E27FC236}">
                <a16:creationId xmlns:a16="http://schemas.microsoft.com/office/drawing/2014/main" id="{D4694CE2-0FD9-474F-98C8-18D8A24E23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7813" b="781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3389697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347614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/>
            </a:lvl1pPr>
          </a:lstStyle>
          <a:p>
            <a:r>
              <a:rPr lang="es-ES"/>
              <a:t>Haga clic para el título principal</a:t>
            </a:r>
            <a:endParaRPr lang="en-US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0" y="3718310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627534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64250" y="4752975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88758" y="4589244"/>
            <a:ext cx="1346367" cy="267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2633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B89650-371B-64D6-B471-414E35BB5D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6AF03CD-7270-77C7-7452-D382FE24A9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MX"/>
              <a:t>Haz clic para editar el estilo de subtítulo del patrón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BB76C49-7742-C7CE-8AC6-C03B02E2D5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11052-DC37-4A5E-9665-A4D23CE9A3DA}" type="datetimeFigureOut">
              <a:rPr lang="en-US" smtClean="0"/>
              <a:t>8/19/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C5322CB-8722-738A-E56C-CABA08D7A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4E2262C-C320-878A-8E0A-EFBF9124F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535704-1EC3-4BB8-9A13-AA08B7FD9B1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1541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E0B648A-40BF-A45F-2851-030967B7B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A726BE2-928F-7E75-1933-E831038075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2D5587E-91A0-E588-CFCF-9EE5D061CB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11052-DC37-4A5E-9665-A4D23CE9A3DA}" type="datetimeFigureOut">
              <a:rPr lang="en-US" smtClean="0"/>
              <a:t>8/19/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A3FE0DA-3B5A-AD06-6C1E-9779A948C3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01296DC-1DAD-D66C-BEE6-E5322476FE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535704-1EC3-4BB8-9A13-AA08B7FD9B1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72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7F81686-AEFC-FE3C-80E7-3CE2447DA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B180950-C09D-0887-02AB-B8648B9874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4519861-53F4-8B50-9A8F-76FA5C1456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11052-DC37-4A5E-9665-A4D23CE9A3DA}" type="datetimeFigureOut">
              <a:rPr lang="en-US" smtClean="0"/>
              <a:t>8/19/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250266-A13F-3685-509D-DE9062D7A0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198C020-7252-BBC2-41D9-C055F1613B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535704-1EC3-4BB8-9A13-AA08B7FD9B1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5630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F444E8-6A25-9CF9-3AE2-588FA2E9CC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EC139CA-3C42-C061-0F3C-C0A6058CC13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681A92C-F1D2-DD5A-13C9-69E0396F6F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64A54B8-DE78-4BE9-FEC7-D1C58B4B5C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11052-DC37-4A5E-9665-A4D23CE9A3DA}" type="datetimeFigureOut">
              <a:rPr lang="en-US" smtClean="0"/>
              <a:t>8/19/22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5C5D13B-1778-8325-AF28-02BDA3E2F7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CFEDB08-7734-963F-3F67-B108E75B97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535704-1EC3-4BB8-9A13-AA08B7FD9B1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828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5" y="534327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Gracias!</a:t>
            </a:r>
            <a:endParaRPr lang="en-US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5808518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7596336" y="2036618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8244408" y="966354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7BABB46C-09CD-2843-89FE-636ADB17FE0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marL="0" indent="0">
              <a:buNone/>
            </a:pPr>
            <a:r>
              <a:rPr lang="en-US" err="1"/>
              <a:t>Dato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1319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F2C6A90-0E40-A392-D64A-D8EBBD34DB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D42BA8F-766A-260F-EC5B-714348AD26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7E68B209-B064-FE92-4130-0D2EFCA462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EE5C8110-B1AF-DE51-EEBC-48262F79BB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62B1257D-A228-EC69-6CD1-4F16BE083FB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933A969C-EDC6-3634-F12C-BB6B3DCDE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11052-DC37-4A5E-9665-A4D23CE9A3DA}" type="datetimeFigureOut">
              <a:rPr lang="en-US" smtClean="0"/>
              <a:t>8/19/22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4D449B9E-9143-D9BC-EEF9-7643DDCD2A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B404AC78-176F-0AA9-5D3E-3B3E77DF96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535704-1EC3-4BB8-9A13-AA08B7FD9B1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0355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19523E2-B5DD-C156-33A1-299A9942C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09D81E07-2F20-172D-D415-30C3564D8B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11052-DC37-4A5E-9665-A4D23CE9A3DA}" type="datetimeFigureOut">
              <a:rPr lang="en-US" smtClean="0"/>
              <a:t>8/19/22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C9BE4C5-E140-9214-084B-AE2D9238D4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7A58B98-848C-A54B-1B00-18FE9D39F0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535704-1EC3-4BB8-9A13-AA08B7FD9B1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18531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3100F570-9042-29AD-51D6-89FD767D9E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11052-DC37-4A5E-9665-A4D23CE9A3DA}" type="datetimeFigureOut">
              <a:rPr lang="en-US" smtClean="0"/>
              <a:t>8/19/22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F29F8DD1-B367-7B79-5524-D67A63EB0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EA625CD-AC86-DA63-BB95-797DC2F75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535704-1EC3-4BB8-9A13-AA08B7FD9B1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0697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864178-3FD0-7A6E-D28D-BD37138C73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799FEF5-8AB2-220C-45A1-4DF4AF79C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11BE29D-6B0A-39BA-B549-8F9FE54FA0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154DCA56-3E1A-0C71-A81B-69EC9E003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11052-DC37-4A5E-9665-A4D23CE9A3DA}" type="datetimeFigureOut">
              <a:rPr lang="en-US" smtClean="0"/>
              <a:t>8/19/22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ED2FEA5F-8922-9D80-857F-3341AC54B5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F21F105-5A2F-2EA0-22A1-FA345F52A9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535704-1EC3-4BB8-9A13-AA08B7FD9B1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7400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7175728-8B4B-5641-B1D1-4F720635A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791E183-1336-CE87-F94F-9F1C35B6A2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s-ES_tradn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537461AC-9EB7-DF39-C49B-7F3950F7A4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7BB7953-7925-86E2-F2B2-C0B289140D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11052-DC37-4A5E-9665-A4D23CE9A3DA}" type="datetimeFigureOut">
              <a:rPr lang="en-US" smtClean="0"/>
              <a:t>8/19/22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F9D269B5-E087-D837-2DF5-3D55CE261B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C7DD3C8-28DF-0F48-3752-7E740FE279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535704-1EC3-4BB8-9A13-AA08B7FD9B1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5595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5051817-0DF0-1736-49C3-C553937A9B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D23F10D-8C8A-B069-4B12-934F02D3AF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8055AAC-85CC-39A7-2190-90D43530A3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11052-DC37-4A5E-9665-A4D23CE9A3DA}" type="datetimeFigureOut">
              <a:rPr lang="en-US" smtClean="0"/>
              <a:t>8/19/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A1883AC-EAAB-839C-6F61-A385EB1F35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A43CD22-38C4-5A59-8307-0F407797F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535704-1EC3-4BB8-9A13-AA08B7FD9B1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9434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D9B93509-AE8F-2230-1594-C169BFF9B7A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EC045A4A-06F3-4916-848D-0D94ECFE88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E70B068-4519-BC4E-183D-55AD71AD2F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11052-DC37-4A5E-9665-A4D23CE9A3DA}" type="datetimeFigureOut">
              <a:rPr lang="en-US" smtClean="0"/>
              <a:t>8/19/22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CA2E317-D146-09C1-5410-4F9FEA7FEB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E8AFFC2-6545-3585-6AD7-84AAF548F9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535704-1EC3-4BB8-9A13-AA08B7FD9B1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6124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. Texto estándar lista">
  <p:cSld name="3. Texto estándar lista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33"/>
          <p:cNvSpPr txBox="1">
            <a:spLocks noGrp="1"/>
          </p:cNvSpPr>
          <p:nvPr>
            <p:ph type="title"/>
          </p:nvPr>
        </p:nvSpPr>
        <p:spPr>
          <a:xfrm>
            <a:off x="413148" y="357188"/>
            <a:ext cx="7939273" cy="709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Play"/>
              <a:buNone/>
              <a:defRPr sz="3000" b="0" i="0" u="none" strike="noStrike" cap="none">
                <a:solidFill>
                  <a:schemeClr val="dk1"/>
                </a:solidFill>
                <a:latin typeface="Play"/>
                <a:ea typeface="Play"/>
                <a:cs typeface="Play"/>
                <a:sym typeface="Pl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3" name="Google Shape;93;p33"/>
          <p:cNvSpPr txBox="1">
            <a:spLocks noGrp="1"/>
          </p:cNvSpPr>
          <p:nvPr>
            <p:ph type="body" idx="1"/>
          </p:nvPr>
        </p:nvSpPr>
        <p:spPr>
          <a:xfrm>
            <a:off x="413148" y="2139553"/>
            <a:ext cx="7939273" cy="2430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2571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800" marR="0" lvl="1" indent="-257175" algn="l" rtl="0">
              <a:lnSpc>
                <a:spcPct val="125000"/>
              </a:lnSpc>
              <a:spcBef>
                <a:spcPts val="1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700" marR="0" lvl="2" indent="-257175" algn="l" rtl="0">
              <a:lnSpc>
                <a:spcPct val="125000"/>
              </a:lnSpc>
              <a:spcBef>
                <a:spcPts val="13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-257175" algn="l" rtl="0">
              <a:lnSpc>
                <a:spcPct val="125000"/>
              </a:lnSpc>
              <a:spcBef>
                <a:spcPts val="13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4500" marR="0" lvl="4" indent="-257175" algn="l" rtl="0">
              <a:lnSpc>
                <a:spcPct val="125000"/>
              </a:lnSpc>
              <a:spcBef>
                <a:spcPts val="13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Char char="▪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oto Sans Symbols"/>
              <a:buNone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" name="Google Shape;94;p33"/>
          <p:cNvSpPr txBox="1">
            <a:spLocks noGrp="1"/>
          </p:cNvSpPr>
          <p:nvPr>
            <p:ph type="ftr" idx="11"/>
          </p:nvPr>
        </p:nvSpPr>
        <p:spPr>
          <a:xfrm>
            <a:off x="1709682" y="4948014"/>
            <a:ext cx="4482498" cy="1954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3"/>
          <p:cNvSpPr txBox="1">
            <a:spLocks noGrp="1"/>
          </p:cNvSpPr>
          <p:nvPr>
            <p:ph type="body" idx="2"/>
          </p:nvPr>
        </p:nvSpPr>
        <p:spPr>
          <a:xfrm>
            <a:off x="413147" y="1275160"/>
            <a:ext cx="7939273" cy="6485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marR="0" lvl="0" indent="-171450" algn="l" rtl="0">
              <a:lnSpc>
                <a:spcPct val="107692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Arial"/>
              <a:buNone/>
              <a:defRPr sz="19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" name="Google Shape;96;p33"/>
          <p:cNvSpPr txBox="1">
            <a:spLocks noGrp="1"/>
          </p:cNvSpPr>
          <p:nvPr>
            <p:ph type="dt" idx="10"/>
          </p:nvPr>
        </p:nvSpPr>
        <p:spPr>
          <a:xfrm>
            <a:off x="6571369" y="4948239"/>
            <a:ext cx="1619033" cy="195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75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882246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34861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03557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569993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350045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6E4C2C5-0D36-E34C-9E34-75AB96E1F2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282007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678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73" r:id="rId4"/>
    <p:sldLayoutId id="2147483771" r:id="rId5"/>
    <p:sldLayoutId id="2147483748" r:id="rId6"/>
    <p:sldLayoutId id="2147483749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7" r:id="rId20"/>
    <p:sldLayoutId id="2147483758" r:id="rId21"/>
    <p:sldLayoutId id="2147483746" r:id="rId22"/>
    <p:sldLayoutId id="2147483760" r:id="rId23"/>
    <p:sldLayoutId id="2147483761" r:id="rId24"/>
    <p:sldLayoutId id="2147483762" r:id="rId25"/>
    <p:sldLayoutId id="2147483763" r:id="rId26"/>
    <p:sldLayoutId id="2147483764" r:id="rId27"/>
    <p:sldLayoutId id="2147483765" r:id="rId28"/>
    <p:sldLayoutId id="2147483766" r:id="rId29"/>
    <p:sldLayoutId id="2147483767" r:id="rId30"/>
    <p:sldLayoutId id="2147483678" r:id="rId31"/>
    <p:sldLayoutId id="2147483790" r:id="rId32"/>
    <p:sldLayoutId id="2147483796" r:id="rId33"/>
    <p:sldLayoutId id="2147483797" r:id="rId34"/>
    <p:sldLayoutId id="2147483669" r:id="rId35"/>
    <p:sldLayoutId id="2147483789" r:id="rId36"/>
    <p:sldLayoutId id="2147483685" r:id="rId37"/>
    <p:sldLayoutId id="2147483792" r:id="rId38"/>
    <p:sldLayoutId id="2147483693" r:id="rId39"/>
    <p:sldLayoutId id="2147483793" r:id="rId40"/>
    <p:sldLayoutId id="2147483701" r:id="rId41"/>
    <p:sldLayoutId id="2147483794" r:id="rId42"/>
    <p:sldLayoutId id="2147483785" r:id="rId43"/>
    <p:sldLayoutId id="2147483795" r:id="rId44"/>
    <p:sldLayoutId id="2147483798" r:id="rId45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69" userDrawn="1">
          <p15:clr>
            <a:srgbClr val="F26B43"/>
          </p15:clr>
        </p15:guide>
        <p15:guide id="4" orient="horz" pos="3072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10" pos="5601" userDrawn="1">
          <p15:clr>
            <a:srgbClr val="F26B43"/>
          </p15:clr>
        </p15:guide>
        <p15:guide id="15" pos="159" userDrawn="1">
          <p15:clr>
            <a:srgbClr val="F26B43"/>
          </p15:clr>
        </p15:guide>
        <p15:guide id="17" orient="horz" pos="57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039E888-6EC3-E9BE-6594-19058D991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110FBA3-C2DB-E0AE-B9F5-868AF631C4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C324FFA-C8CA-E141-4541-E2FDEC6D94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038471-BEAF-7B46-BA11-9FD86E7B8A4C}" type="datetimeFigureOut">
              <a:rPr lang="es-ES_tradnl" smtClean="0"/>
              <a:t>19/8/22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3FC2BD5-811B-0D58-AF15-A13BAE7F88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4F81EE3-4026-13A9-A7DC-6462DDCC27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A3F87D-FD5D-E640-9124-C350712DB50F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161380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51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11.jpe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DEC66-6132-EA62-C398-246754E1BE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ES_tradnl" dirty="0"/>
              <a:t>ARQUITECTURA DEVOPS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A13A8F1-E961-A06C-A12A-CB10EBC66C5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ES_tradnl" dirty="0"/>
              <a:t>Julio 2022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0F86CEB-7070-F7AF-BA8F-EC8A4C044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535704-1EC3-4BB8-9A13-AA08B7FD9B1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007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42">
            <a:extLst>
              <a:ext uri="{FF2B5EF4-FFF2-40B4-BE49-F238E27FC236}">
                <a16:creationId xmlns:a16="http://schemas.microsoft.com/office/drawing/2014/main" id="{4DE2E167-2034-DD49-8137-776D74CF40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0511" y="2664779"/>
            <a:ext cx="533420" cy="727391"/>
          </a:xfrm>
          <a:prstGeom prst="rect">
            <a:avLst/>
          </a:prstGeom>
        </p:spPr>
      </p:pic>
      <p:pic>
        <p:nvPicPr>
          <p:cNvPr id="9" name="Imagen 43">
            <a:extLst>
              <a:ext uri="{FF2B5EF4-FFF2-40B4-BE49-F238E27FC236}">
                <a16:creationId xmlns:a16="http://schemas.microsoft.com/office/drawing/2014/main" id="{358D0CFF-D734-A34A-AB47-7BCEC74927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47228" y="2805842"/>
            <a:ext cx="1168985" cy="448111"/>
          </a:xfrm>
          <a:prstGeom prst="rect">
            <a:avLst/>
          </a:prstGeom>
        </p:spPr>
      </p:pic>
      <p:cxnSp>
        <p:nvCxnSpPr>
          <p:cNvPr id="10" name="Conector angular 181">
            <a:extLst>
              <a:ext uri="{FF2B5EF4-FFF2-40B4-BE49-F238E27FC236}">
                <a16:creationId xmlns:a16="http://schemas.microsoft.com/office/drawing/2014/main" id="{E51E9591-94F2-D549-9F49-E8F1F0F8A043}"/>
              </a:ext>
            </a:extLst>
          </p:cNvPr>
          <p:cNvCxnSpPr>
            <a:stCxn id="8" idx="3"/>
            <a:endCxn id="9" idx="1"/>
          </p:cNvCxnSpPr>
          <p:nvPr/>
        </p:nvCxnSpPr>
        <p:spPr>
          <a:xfrm>
            <a:off x="2543931" y="3028475"/>
            <a:ext cx="603298" cy="1423"/>
          </a:xfrm>
          <a:prstGeom prst="bentConnector3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n 191">
            <a:extLst>
              <a:ext uri="{FF2B5EF4-FFF2-40B4-BE49-F238E27FC236}">
                <a16:creationId xmlns:a16="http://schemas.microsoft.com/office/drawing/2014/main" id="{AD11CD69-02F9-844B-92CC-25C30836B7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2804" y="3828209"/>
            <a:ext cx="490761" cy="490761"/>
          </a:xfrm>
          <a:prstGeom prst="rect">
            <a:avLst/>
          </a:prstGeom>
        </p:spPr>
      </p:pic>
      <p:pic>
        <p:nvPicPr>
          <p:cNvPr id="12" name="Picture 147" descr="Resultado de imagen para build test icon">
            <a:extLst>
              <a:ext uri="{FF2B5EF4-FFF2-40B4-BE49-F238E27FC236}">
                <a16:creationId xmlns:a16="http://schemas.microsoft.com/office/drawing/2014/main" id="{3C6D51AB-400F-FB41-B6E0-A6A5D32988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3324" y="1790541"/>
            <a:ext cx="607943" cy="607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Conector recto de flecha 218">
            <a:extLst>
              <a:ext uri="{FF2B5EF4-FFF2-40B4-BE49-F238E27FC236}">
                <a16:creationId xmlns:a16="http://schemas.microsoft.com/office/drawing/2014/main" id="{E8972784-BEEA-8345-BDA0-FAFCD16D7FDE}"/>
              </a:ext>
            </a:extLst>
          </p:cNvPr>
          <p:cNvCxnSpPr>
            <a:endCxn id="11" idx="0"/>
          </p:cNvCxnSpPr>
          <p:nvPr/>
        </p:nvCxnSpPr>
        <p:spPr>
          <a:xfrm flipH="1">
            <a:off x="1848184" y="3578494"/>
            <a:ext cx="245381" cy="249715"/>
          </a:xfrm>
          <a:prstGeom prst="straightConnector1">
            <a:avLst/>
          </a:prstGeom>
          <a:ln w="28575">
            <a:solidFill>
              <a:srgbClr val="FF66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de flecha 220">
            <a:extLst>
              <a:ext uri="{FF2B5EF4-FFF2-40B4-BE49-F238E27FC236}">
                <a16:creationId xmlns:a16="http://schemas.microsoft.com/office/drawing/2014/main" id="{51035A88-7D9D-984E-AD2B-5788A9E12FBF}"/>
              </a:ext>
            </a:extLst>
          </p:cNvPr>
          <p:cNvCxnSpPr>
            <a:endCxn id="16" idx="0"/>
          </p:cNvCxnSpPr>
          <p:nvPr/>
        </p:nvCxnSpPr>
        <p:spPr>
          <a:xfrm>
            <a:off x="2501657" y="3578494"/>
            <a:ext cx="274227" cy="249715"/>
          </a:xfrm>
          <a:prstGeom prst="straightConnector1">
            <a:avLst/>
          </a:prstGeom>
          <a:ln w="28575">
            <a:solidFill>
              <a:srgbClr val="FF66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de flecha 30864">
            <a:extLst>
              <a:ext uri="{FF2B5EF4-FFF2-40B4-BE49-F238E27FC236}">
                <a16:creationId xmlns:a16="http://schemas.microsoft.com/office/drawing/2014/main" id="{80FA1A7B-BF0A-8E4F-9EE7-DB26BE0A55DB}"/>
              </a:ext>
            </a:extLst>
          </p:cNvPr>
          <p:cNvCxnSpPr>
            <a:stCxn id="9" idx="0"/>
            <a:endCxn id="12" idx="2"/>
          </p:cNvCxnSpPr>
          <p:nvPr/>
        </p:nvCxnSpPr>
        <p:spPr>
          <a:xfrm flipV="1">
            <a:off x="3731721" y="2398484"/>
            <a:ext cx="5575" cy="407358"/>
          </a:xfrm>
          <a:prstGeom prst="straightConnector1">
            <a:avLst/>
          </a:prstGeom>
          <a:ln w="28575">
            <a:solidFill>
              <a:srgbClr val="FF66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n 30867">
            <a:extLst>
              <a:ext uri="{FF2B5EF4-FFF2-40B4-BE49-F238E27FC236}">
                <a16:creationId xmlns:a16="http://schemas.microsoft.com/office/drawing/2014/main" id="{6413E899-11AF-0946-BE47-DDDBBF801B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90467" y="3828209"/>
            <a:ext cx="570835" cy="561160"/>
          </a:xfrm>
          <a:prstGeom prst="rect">
            <a:avLst/>
          </a:prstGeom>
        </p:spPr>
      </p:pic>
      <p:pic>
        <p:nvPicPr>
          <p:cNvPr id="17" name="Picture 177" descr="Resultado de imagen para archive icon">
            <a:extLst>
              <a:ext uri="{FF2B5EF4-FFF2-40B4-BE49-F238E27FC236}">
                <a16:creationId xmlns:a16="http://schemas.microsoft.com/office/drawing/2014/main" id="{4CEDCC3F-132C-4344-BF99-622DC9646C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1854" y="3828209"/>
            <a:ext cx="473930" cy="473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" name="Conector recto de flecha 30876">
            <a:extLst>
              <a:ext uri="{FF2B5EF4-FFF2-40B4-BE49-F238E27FC236}">
                <a16:creationId xmlns:a16="http://schemas.microsoft.com/office/drawing/2014/main" id="{05774AA5-A9F2-6F46-AF6D-F4956FEB7BBD}"/>
              </a:ext>
            </a:extLst>
          </p:cNvPr>
          <p:cNvCxnSpPr>
            <a:stCxn id="37" idx="2"/>
            <a:endCxn id="17" idx="0"/>
          </p:cNvCxnSpPr>
          <p:nvPr/>
        </p:nvCxnSpPr>
        <p:spPr>
          <a:xfrm>
            <a:off x="5314359" y="3312885"/>
            <a:ext cx="4460" cy="515324"/>
          </a:xfrm>
          <a:prstGeom prst="straightConnector1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de flecha 30923">
            <a:extLst>
              <a:ext uri="{FF2B5EF4-FFF2-40B4-BE49-F238E27FC236}">
                <a16:creationId xmlns:a16="http://schemas.microsoft.com/office/drawing/2014/main" id="{00C7B4B6-0407-6041-BD80-054EB60EC011}"/>
              </a:ext>
            </a:extLst>
          </p:cNvPr>
          <p:cNvCxnSpPr>
            <a:cxnSpLocks/>
            <a:stCxn id="41" idx="2"/>
            <a:endCxn id="33" idx="0"/>
          </p:cNvCxnSpPr>
          <p:nvPr/>
        </p:nvCxnSpPr>
        <p:spPr>
          <a:xfrm flipH="1">
            <a:off x="7458807" y="2188575"/>
            <a:ext cx="3773" cy="66338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de flecha 30926">
            <a:extLst>
              <a:ext uri="{FF2B5EF4-FFF2-40B4-BE49-F238E27FC236}">
                <a16:creationId xmlns:a16="http://schemas.microsoft.com/office/drawing/2014/main" id="{834E839D-E63D-4342-AF87-8BA9E00C7478}"/>
              </a:ext>
            </a:extLst>
          </p:cNvPr>
          <p:cNvCxnSpPr>
            <a:cxnSpLocks/>
            <a:stCxn id="37" idx="3"/>
            <a:endCxn id="41" idx="1"/>
          </p:cNvCxnSpPr>
          <p:nvPr/>
        </p:nvCxnSpPr>
        <p:spPr>
          <a:xfrm flipV="1">
            <a:off x="5770713" y="1847701"/>
            <a:ext cx="1415335" cy="118148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angular 30961">
            <a:extLst>
              <a:ext uri="{FF2B5EF4-FFF2-40B4-BE49-F238E27FC236}">
                <a16:creationId xmlns:a16="http://schemas.microsoft.com/office/drawing/2014/main" id="{49066B0C-0892-0040-B679-00811DA272E0}"/>
              </a:ext>
            </a:extLst>
          </p:cNvPr>
          <p:cNvCxnSpPr>
            <a:cxnSpLocks/>
            <a:stCxn id="22532" idx="2"/>
            <a:endCxn id="8" idx="0"/>
          </p:cNvCxnSpPr>
          <p:nvPr/>
        </p:nvCxnSpPr>
        <p:spPr>
          <a:xfrm rot="16200000" flipH="1">
            <a:off x="1933008" y="2320565"/>
            <a:ext cx="683663" cy="4763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uadroTexto 1">
            <a:extLst>
              <a:ext uri="{FF2B5EF4-FFF2-40B4-BE49-F238E27FC236}">
                <a16:creationId xmlns:a16="http://schemas.microsoft.com/office/drawing/2014/main" id="{0151625C-E403-744A-AB48-640F1C7CA955}"/>
              </a:ext>
            </a:extLst>
          </p:cNvPr>
          <p:cNvSpPr txBox="1"/>
          <p:nvPr/>
        </p:nvSpPr>
        <p:spPr>
          <a:xfrm>
            <a:off x="328269" y="2144824"/>
            <a:ext cx="1195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b="1" dirty="0">
                <a:cs typeface="Arial" panose="020B0604020202020204" pitchFamily="34" charset="0"/>
              </a:rPr>
              <a:t>Desarrolladores</a:t>
            </a:r>
            <a:endParaRPr lang="es-PE" sz="825" b="1" dirty="0">
              <a:cs typeface="Arial" panose="020B0604020202020204" pitchFamily="34" charset="0"/>
            </a:endParaRPr>
          </a:p>
        </p:txBody>
      </p:sp>
      <p:sp>
        <p:nvSpPr>
          <p:cNvPr id="26" name="CuadroTexto 38">
            <a:extLst>
              <a:ext uri="{FF2B5EF4-FFF2-40B4-BE49-F238E27FC236}">
                <a16:creationId xmlns:a16="http://schemas.microsoft.com/office/drawing/2014/main" id="{75BDA3CF-6E78-5E4F-9BE4-9304B34071BC}"/>
              </a:ext>
            </a:extLst>
          </p:cNvPr>
          <p:cNvSpPr txBox="1"/>
          <p:nvPr/>
        </p:nvSpPr>
        <p:spPr>
          <a:xfrm>
            <a:off x="1997746" y="3351358"/>
            <a:ext cx="652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b="1" dirty="0"/>
              <a:t>Jenkins</a:t>
            </a:r>
          </a:p>
        </p:txBody>
      </p:sp>
      <p:sp>
        <p:nvSpPr>
          <p:cNvPr id="28" name="CuadroTexto 40">
            <a:extLst>
              <a:ext uri="{FF2B5EF4-FFF2-40B4-BE49-F238E27FC236}">
                <a16:creationId xmlns:a16="http://schemas.microsoft.com/office/drawing/2014/main" id="{610D7842-3B47-E84B-A118-15E610143187}"/>
              </a:ext>
            </a:extLst>
          </p:cNvPr>
          <p:cNvSpPr txBox="1"/>
          <p:nvPr/>
        </p:nvSpPr>
        <p:spPr>
          <a:xfrm>
            <a:off x="1233592" y="4361582"/>
            <a:ext cx="1033698" cy="380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dirty="0">
                <a:latin typeface="Arial" panose="020B0604020202020204" pitchFamily="34" charset="0"/>
                <a:cs typeface="Arial" panose="020B0604020202020204" pitchFamily="34" charset="0"/>
              </a:rPr>
              <a:t>Compilación</a:t>
            </a:r>
          </a:p>
          <a:p>
            <a:pPr algn="ctr"/>
            <a:endParaRPr lang="es-PE" sz="825" b="1" dirty="0">
              <a:solidFill>
                <a:srgbClr val="92D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uadroTexto 45">
            <a:extLst>
              <a:ext uri="{FF2B5EF4-FFF2-40B4-BE49-F238E27FC236}">
                <a16:creationId xmlns:a16="http://schemas.microsoft.com/office/drawing/2014/main" id="{B2D580A9-77B7-6D45-9582-BEAE93BAA765}"/>
              </a:ext>
            </a:extLst>
          </p:cNvPr>
          <p:cNvSpPr txBox="1"/>
          <p:nvPr/>
        </p:nvSpPr>
        <p:spPr>
          <a:xfrm>
            <a:off x="2264529" y="4361582"/>
            <a:ext cx="9627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dirty="0">
                <a:latin typeface="Arial" panose="020B0604020202020204" pitchFamily="34" charset="0"/>
                <a:cs typeface="Arial" panose="020B0604020202020204" pitchFamily="34" charset="0"/>
              </a:rPr>
              <a:t>Ejecución de  </a:t>
            </a:r>
          </a:p>
          <a:p>
            <a:pPr algn="ctr"/>
            <a:r>
              <a:rPr lang="es-PE" sz="1050" b="1" dirty="0">
                <a:latin typeface="Arial" panose="020B0604020202020204" pitchFamily="34" charset="0"/>
                <a:cs typeface="Arial" panose="020B0604020202020204" pitchFamily="34" charset="0"/>
              </a:rPr>
              <a:t>Prueba</a:t>
            </a:r>
          </a:p>
          <a:p>
            <a:pPr algn="ctr"/>
            <a:endParaRPr lang="es-PE" sz="1050" b="1" dirty="0">
              <a:solidFill>
                <a:srgbClr val="92D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uadroTexto 46">
            <a:extLst>
              <a:ext uri="{FF2B5EF4-FFF2-40B4-BE49-F238E27FC236}">
                <a16:creationId xmlns:a16="http://schemas.microsoft.com/office/drawing/2014/main" id="{9290FA4D-CF8E-6846-8E47-ECE79B2F1589}"/>
              </a:ext>
            </a:extLst>
          </p:cNvPr>
          <p:cNvSpPr txBox="1"/>
          <p:nvPr/>
        </p:nvSpPr>
        <p:spPr>
          <a:xfrm>
            <a:off x="3268963" y="1365260"/>
            <a:ext cx="9868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1200" b="1" dirty="0">
                <a:latin typeface="Calibri "/>
              </a:rPr>
              <a:t>Reportes de </a:t>
            </a:r>
          </a:p>
          <a:p>
            <a:pPr algn="ctr"/>
            <a:r>
              <a:rPr lang="es-PE" sz="1200" b="1" dirty="0">
                <a:latin typeface="Calibri "/>
              </a:rPr>
              <a:t>QA</a:t>
            </a:r>
          </a:p>
        </p:txBody>
      </p:sp>
      <p:sp>
        <p:nvSpPr>
          <p:cNvPr id="31" name="CuadroTexto 47">
            <a:extLst>
              <a:ext uri="{FF2B5EF4-FFF2-40B4-BE49-F238E27FC236}">
                <a16:creationId xmlns:a16="http://schemas.microsoft.com/office/drawing/2014/main" id="{D4953C41-0F28-A746-B169-A94E0C8C11A1}"/>
              </a:ext>
            </a:extLst>
          </p:cNvPr>
          <p:cNvSpPr txBox="1"/>
          <p:nvPr/>
        </p:nvSpPr>
        <p:spPr>
          <a:xfrm>
            <a:off x="4854732" y="4311895"/>
            <a:ext cx="91563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900" b="1" dirty="0">
                <a:latin typeface="Arial" panose="020B0604020202020204" pitchFamily="34" charset="0"/>
                <a:cs typeface="Arial" panose="020B0604020202020204" pitchFamily="34" charset="0"/>
              </a:rPr>
              <a:t>Archivado de</a:t>
            </a:r>
          </a:p>
          <a:p>
            <a:pPr algn="ctr"/>
            <a:r>
              <a:rPr lang="es-PE" sz="900" b="1" dirty="0">
                <a:latin typeface="Arial" panose="020B0604020202020204" pitchFamily="34" charset="0"/>
                <a:cs typeface="Arial" panose="020B0604020202020204" pitchFamily="34" charset="0"/>
              </a:rPr>
              <a:t> artefactos a</a:t>
            </a:r>
          </a:p>
          <a:p>
            <a:pPr algn="ctr"/>
            <a:r>
              <a:rPr lang="es-PE" sz="900" b="1" dirty="0" err="1">
                <a:latin typeface="Arial" panose="020B0604020202020204" pitchFamily="34" charset="0"/>
                <a:cs typeface="Arial" panose="020B0604020202020204" pitchFamily="34" charset="0"/>
              </a:rPr>
              <a:t>Artefactory</a:t>
            </a:r>
            <a:endParaRPr lang="es-PE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Grupo 31">
            <a:extLst>
              <a:ext uri="{FF2B5EF4-FFF2-40B4-BE49-F238E27FC236}">
                <a16:creationId xmlns:a16="http://schemas.microsoft.com/office/drawing/2014/main" id="{54410E08-A9A1-D14D-B236-256AAFC01948}"/>
              </a:ext>
            </a:extLst>
          </p:cNvPr>
          <p:cNvGrpSpPr/>
          <p:nvPr/>
        </p:nvGrpSpPr>
        <p:grpSpPr>
          <a:xfrm>
            <a:off x="7146252" y="2851964"/>
            <a:ext cx="713217" cy="933685"/>
            <a:chOff x="10830959" y="5376736"/>
            <a:chExt cx="950956" cy="1244913"/>
          </a:xfrm>
        </p:grpSpPr>
        <p:pic>
          <p:nvPicPr>
            <p:cNvPr id="33" name="Picture 197" descr="Resultado de imagen para browser application icon">
              <a:extLst>
                <a:ext uri="{FF2B5EF4-FFF2-40B4-BE49-F238E27FC236}">
                  <a16:creationId xmlns:a16="http://schemas.microsoft.com/office/drawing/2014/main" id="{8A7B0241-6AD2-C94A-8012-E13D5631C3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30959" y="5376736"/>
              <a:ext cx="833471" cy="8334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CuadroTexto 50">
              <a:extLst>
                <a:ext uri="{FF2B5EF4-FFF2-40B4-BE49-F238E27FC236}">
                  <a16:creationId xmlns:a16="http://schemas.microsoft.com/office/drawing/2014/main" id="{73AE021C-BE6E-5E48-92CE-11EEA58E574C}"/>
                </a:ext>
              </a:extLst>
            </p:cNvPr>
            <p:cNvSpPr txBox="1"/>
            <p:nvPr/>
          </p:nvSpPr>
          <p:spPr>
            <a:xfrm>
              <a:off x="10858158" y="6159984"/>
              <a:ext cx="92375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PE" sz="825" b="1" dirty="0">
                  <a:latin typeface="Calibri "/>
                </a:rPr>
                <a:t>Aplicación </a:t>
              </a:r>
            </a:p>
            <a:p>
              <a:pPr algn="ctr"/>
              <a:r>
                <a:rPr lang="es-PE" sz="825" b="1" dirty="0">
                  <a:latin typeface="Calibri "/>
                </a:rPr>
                <a:t>Desplegada</a:t>
              </a:r>
            </a:p>
          </p:txBody>
        </p:sp>
      </p:grpSp>
      <p:pic>
        <p:nvPicPr>
          <p:cNvPr id="37" name="Imagen 8">
            <a:extLst>
              <a:ext uri="{FF2B5EF4-FFF2-40B4-BE49-F238E27FC236}">
                <a16:creationId xmlns:a16="http://schemas.microsoft.com/office/drawing/2014/main" id="{B3EF12AD-8E32-3640-BB0C-C0E46467308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006" y="2745486"/>
            <a:ext cx="912707" cy="567400"/>
          </a:xfrm>
          <a:prstGeom prst="rect">
            <a:avLst/>
          </a:prstGeom>
        </p:spPr>
      </p:pic>
      <p:pic>
        <p:nvPicPr>
          <p:cNvPr id="41" name="Imagen 79">
            <a:extLst>
              <a:ext uri="{FF2B5EF4-FFF2-40B4-BE49-F238E27FC236}">
                <a16:creationId xmlns:a16="http://schemas.microsoft.com/office/drawing/2014/main" id="{CAC28F74-563E-5D4E-A61B-9A344BBA947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86047" y="1506826"/>
            <a:ext cx="553065" cy="681749"/>
          </a:xfrm>
          <a:prstGeom prst="rect">
            <a:avLst/>
          </a:prstGeom>
        </p:spPr>
      </p:pic>
      <p:cxnSp>
        <p:nvCxnSpPr>
          <p:cNvPr id="43" name="Conector recto de flecha 92">
            <a:extLst>
              <a:ext uri="{FF2B5EF4-FFF2-40B4-BE49-F238E27FC236}">
                <a16:creationId xmlns:a16="http://schemas.microsoft.com/office/drawing/2014/main" id="{BB7B571B-49F6-464D-8334-0C1D9F25A278}"/>
              </a:ext>
            </a:extLst>
          </p:cNvPr>
          <p:cNvCxnSpPr>
            <a:cxnSpLocks/>
            <a:endCxn id="33" idx="3"/>
          </p:cNvCxnSpPr>
          <p:nvPr/>
        </p:nvCxnSpPr>
        <p:spPr>
          <a:xfrm flipH="1">
            <a:off x="7771357" y="3156616"/>
            <a:ext cx="440099" cy="790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angular 62">
            <a:extLst>
              <a:ext uri="{FF2B5EF4-FFF2-40B4-BE49-F238E27FC236}">
                <a16:creationId xmlns:a16="http://schemas.microsoft.com/office/drawing/2014/main" id="{197D9C85-9DB7-3943-BB92-9590CB7800A1}"/>
              </a:ext>
            </a:extLst>
          </p:cNvPr>
          <p:cNvCxnSpPr/>
          <p:nvPr/>
        </p:nvCxnSpPr>
        <p:spPr>
          <a:xfrm flipV="1">
            <a:off x="1466204" y="1827151"/>
            <a:ext cx="446164" cy="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angular 83">
            <a:extLst>
              <a:ext uri="{FF2B5EF4-FFF2-40B4-BE49-F238E27FC236}">
                <a16:creationId xmlns:a16="http://schemas.microsoft.com/office/drawing/2014/main" id="{12021515-AE2D-DC45-8738-EE04A7A3111F}"/>
              </a:ext>
            </a:extLst>
          </p:cNvPr>
          <p:cNvCxnSpPr>
            <a:stCxn id="9" idx="3"/>
            <a:endCxn id="37" idx="1"/>
          </p:cNvCxnSpPr>
          <p:nvPr/>
        </p:nvCxnSpPr>
        <p:spPr>
          <a:xfrm flipV="1">
            <a:off x="4316212" y="3029186"/>
            <a:ext cx="541793" cy="712"/>
          </a:xfrm>
          <a:prstGeom prst="bentConnector3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Imagen 64">
            <a:extLst>
              <a:ext uri="{FF2B5EF4-FFF2-40B4-BE49-F238E27FC236}">
                <a16:creationId xmlns:a16="http://schemas.microsoft.com/office/drawing/2014/main" id="{7E5955A7-3770-9C46-B13D-8F5E5CAB967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73" y="1130498"/>
            <a:ext cx="1303005" cy="1032083"/>
          </a:xfrm>
          <a:prstGeom prst="rect">
            <a:avLst/>
          </a:prstGeom>
        </p:spPr>
      </p:pic>
      <p:sp>
        <p:nvSpPr>
          <p:cNvPr id="50" name="CuadroTexto 97">
            <a:extLst>
              <a:ext uri="{FF2B5EF4-FFF2-40B4-BE49-F238E27FC236}">
                <a16:creationId xmlns:a16="http://schemas.microsoft.com/office/drawing/2014/main" id="{639AB0C1-85B1-D949-881A-45B29883F371}"/>
              </a:ext>
            </a:extLst>
          </p:cNvPr>
          <p:cNvSpPr txBox="1"/>
          <p:nvPr/>
        </p:nvSpPr>
        <p:spPr>
          <a:xfrm>
            <a:off x="7739112" y="1487861"/>
            <a:ext cx="97055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900" b="1" dirty="0"/>
              <a:t>Entorno de despliegue </a:t>
            </a:r>
          </a:p>
          <a:p>
            <a:pPr algn="ctr"/>
            <a:r>
              <a:rPr lang="es-PE" sz="900" b="1" dirty="0"/>
              <a:t>del proyecto</a:t>
            </a:r>
          </a:p>
        </p:txBody>
      </p:sp>
      <p:pic>
        <p:nvPicPr>
          <p:cNvPr id="56" name="Imagen 111">
            <a:extLst>
              <a:ext uri="{FF2B5EF4-FFF2-40B4-BE49-F238E27FC236}">
                <a16:creationId xmlns:a16="http://schemas.microsoft.com/office/drawing/2014/main" id="{B29DBE94-8FC6-AD48-84F9-67FC144942B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11268" y="3185798"/>
            <a:ext cx="741694" cy="419827"/>
          </a:xfrm>
          <a:prstGeom prst="rect">
            <a:avLst/>
          </a:prstGeom>
        </p:spPr>
      </p:pic>
      <p:sp>
        <p:nvSpPr>
          <p:cNvPr id="58" name="CuadroTexto 114">
            <a:extLst>
              <a:ext uri="{FF2B5EF4-FFF2-40B4-BE49-F238E27FC236}">
                <a16:creationId xmlns:a16="http://schemas.microsoft.com/office/drawing/2014/main" id="{BB9DCBC8-0C8B-1A45-B141-1C1AF7229562}"/>
              </a:ext>
            </a:extLst>
          </p:cNvPr>
          <p:cNvSpPr txBox="1"/>
          <p:nvPr/>
        </p:nvSpPr>
        <p:spPr>
          <a:xfrm>
            <a:off x="8371412" y="3008120"/>
            <a:ext cx="564578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825" b="1" dirty="0"/>
              <a:t>Usuarios</a:t>
            </a:r>
          </a:p>
        </p:txBody>
      </p:sp>
      <p:pic>
        <p:nvPicPr>
          <p:cNvPr id="59" name="Imagen 86">
            <a:extLst>
              <a:ext uri="{FF2B5EF4-FFF2-40B4-BE49-F238E27FC236}">
                <a16:creationId xmlns:a16="http://schemas.microsoft.com/office/drawing/2014/main" id="{2774EBB2-2789-8A4F-B751-2FB6E5BDD8A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908" y="3688849"/>
            <a:ext cx="1093279" cy="480527"/>
          </a:xfrm>
          <a:prstGeom prst="rect">
            <a:avLst/>
          </a:prstGeom>
        </p:spPr>
      </p:pic>
      <p:cxnSp>
        <p:nvCxnSpPr>
          <p:cNvPr id="60" name="Conector recto de flecha 116">
            <a:extLst>
              <a:ext uri="{FF2B5EF4-FFF2-40B4-BE49-F238E27FC236}">
                <a16:creationId xmlns:a16="http://schemas.microsoft.com/office/drawing/2014/main" id="{B917EEB0-F541-A34F-92F2-F2BC5BA85419}"/>
              </a:ext>
            </a:extLst>
          </p:cNvPr>
          <p:cNvCxnSpPr/>
          <p:nvPr/>
        </p:nvCxnSpPr>
        <p:spPr>
          <a:xfrm>
            <a:off x="2582887" y="3256409"/>
            <a:ext cx="952220" cy="348591"/>
          </a:xfrm>
          <a:prstGeom prst="straightConnector1">
            <a:avLst/>
          </a:prstGeom>
          <a:ln w="28575">
            <a:solidFill>
              <a:srgbClr val="FF66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CuadroTexto 119">
            <a:extLst>
              <a:ext uri="{FF2B5EF4-FFF2-40B4-BE49-F238E27FC236}">
                <a16:creationId xmlns:a16="http://schemas.microsoft.com/office/drawing/2014/main" id="{6163D3BA-5BBD-E849-B5B2-59D342B10B82}"/>
              </a:ext>
            </a:extLst>
          </p:cNvPr>
          <p:cNvSpPr txBox="1"/>
          <p:nvPr/>
        </p:nvSpPr>
        <p:spPr>
          <a:xfrm>
            <a:off x="3393528" y="4233671"/>
            <a:ext cx="96274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dirty="0">
                <a:latin typeface="Arial" panose="020B0604020202020204" pitchFamily="34" charset="0"/>
                <a:cs typeface="Arial" panose="020B0604020202020204" pitchFamily="34" charset="0"/>
              </a:rPr>
              <a:t>Monitoreo Pipelines</a:t>
            </a:r>
            <a:endParaRPr lang="es-PE" sz="1050" b="1" dirty="0">
              <a:solidFill>
                <a:srgbClr val="92D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CuadroTexto 60">
            <a:extLst>
              <a:ext uri="{FF2B5EF4-FFF2-40B4-BE49-F238E27FC236}">
                <a16:creationId xmlns:a16="http://schemas.microsoft.com/office/drawing/2014/main" id="{1EE6FC5B-CE0D-FB47-97FE-1CDDFA57F5A4}"/>
              </a:ext>
            </a:extLst>
          </p:cNvPr>
          <p:cNvSpPr txBox="1"/>
          <p:nvPr/>
        </p:nvSpPr>
        <p:spPr>
          <a:xfrm>
            <a:off x="1454340" y="1567679"/>
            <a:ext cx="4956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b="1" dirty="0" err="1">
                <a:solidFill>
                  <a:schemeClr val="accent1"/>
                </a:solidFill>
                <a:cs typeface="Arial" panose="020B0604020202020204" pitchFamily="34" charset="0"/>
              </a:rPr>
              <a:t>push</a:t>
            </a:r>
            <a:endParaRPr lang="es-PE" sz="825" b="1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63" name="CuadroTexto 61">
            <a:extLst>
              <a:ext uri="{FF2B5EF4-FFF2-40B4-BE49-F238E27FC236}">
                <a16:creationId xmlns:a16="http://schemas.microsoft.com/office/drawing/2014/main" id="{5F7912F4-2576-434E-B134-F24C9EB31000}"/>
              </a:ext>
            </a:extLst>
          </p:cNvPr>
          <p:cNvSpPr txBox="1"/>
          <p:nvPr/>
        </p:nvSpPr>
        <p:spPr>
          <a:xfrm>
            <a:off x="2286151" y="2294230"/>
            <a:ext cx="7829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b="1" dirty="0">
                <a:solidFill>
                  <a:schemeClr val="accent1"/>
                </a:solidFill>
                <a:cs typeface="Arial" panose="020B0604020202020204" pitchFamily="34" charset="0"/>
              </a:rPr>
              <a:t>webhook</a:t>
            </a:r>
            <a:endParaRPr lang="es-PE" sz="825" b="1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65" name="CuadroTexto 68">
            <a:extLst>
              <a:ext uri="{FF2B5EF4-FFF2-40B4-BE49-F238E27FC236}">
                <a16:creationId xmlns:a16="http://schemas.microsoft.com/office/drawing/2014/main" id="{AC0A9602-B78F-964B-829E-D4CAC3C607E8}"/>
              </a:ext>
            </a:extLst>
          </p:cNvPr>
          <p:cNvSpPr txBox="1"/>
          <p:nvPr/>
        </p:nvSpPr>
        <p:spPr>
          <a:xfrm>
            <a:off x="5344570" y="3450580"/>
            <a:ext cx="6969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b="1" dirty="0">
                <a:solidFill>
                  <a:schemeClr val="accent6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delivery</a:t>
            </a:r>
            <a:endParaRPr lang="es-PE" sz="825" b="1" dirty="0">
              <a:solidFill>
                <a:schemeClr val="accent6">
                  <a:lumMod val="60000"/>
                  <a:lumOff val="4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6" name="CuadroTexto 69">
            <a:extLst>
              <a:ext uri="{FF2B5EF4-FFF2-40B4-BE49-F238E27FC236}">
                <a16:creationId xmlns:a16="http://schemas.microsoft.com/office/drawing/2014/main" id="{C06FDE83-DD42-114A-8A41-A89984C700C0}"/>
              </a:ext>
            </a:extLst>
          </p:cNvPr>
          <p:cNvSpPr txBox="1"/>
          <p:nvPr/>
        </p:nvSpPr>
        <p:spPr>
          <a:xfrm>
            <a:off x="5891635" y="2070102"/>
            <a:ext cx="6213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b="1" dirty="0" err="1">
                <a:solidFill>
                  <a:schemeClr val="accent1"/>
                </a:solidFill>
                <a:cs typeface="Arial" panose="020B0604020202020204" pitchFamily="34" charset="0"/>
              </a:rPr>
              <a:t>deploy</a:t>
            </a:r>
            <a:endParaRPr lang="es-PE" sz="825" b="1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67" name="CuadroTexto 70">
            <a:extLst>
              <a:ext uri="{FF2B5EF4-FFF2-40B4-BE49-F238E27FC236}">
                <a16:creationId xmlns:a16="http://schemas.microsoft.com/office/drawing/2014/main" id="{34517CD5-E3EF-9349-BADF-E9B2D50678E5}"/>
              </a:ext>
            </a:extLst>
          </p:cNvPr>
          <p:cNvSpPr txBox="1"/>
          <p:nvPr/>
        </p:nvSpPr>
        <p:spPr>
          <a:xfrm>
            <a:off x="3851595" y="2598049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b="1" dirty="0" err="1">
                <a:solidFill>
                  <a:schemeClr val="accent2"/>
                </a:solidFill>
                <a:cs typeface="Arial" panose="020B0604020202020204" pitchFamily="34" charset="0"/>
              </a:rPr>
              <a:t>generate</a:t>
            </a:r>
            <a:endParaRPr lang="es-PE" sz="825" b="1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68" name="CuadroTexto 71">
            <a:extLst>
              <a:ext uri="{FF2B5EF4-FFF2-40B4-BE49-F238E27FC236}">
                <a16:creationId xmlns:a16="http://schemas.microsoft.com/office/drawing/2014/main" id="{57B61329-68FB-EB49-B764-003BE395DFF3}"/>
              </a:ext>
            </a:extLst>
          </p:cNvPr>
          <p:cNvSpPr txBox="1"/>
          <p:nvPr/>
        </p:nvSpPr>
        <p:spPr>
          <a:xfrm>
            <a:off x="1974459" y="3621017"/>
            <a:ext cx="6813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b="1" dirty="0" err="1">
                <a:solidFill>
                  <a:schemeClr val="accent2"/>
                </a:solidFill>
                <a:cs typeface="Arial" panose="020B0604020202020204" pitchFamily="34" charset="0"/>
              </a:rPr>
              <a:t>operate</a:t>
            </a:r>
            <a:endParaRPr lang="es-PE" sz="825" b="1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69" name="CuadroTexto 72">
            <a:extLst>
              <a:ext uri="{FF2B5EF4-FFF2-40B4-BE49-F238E27FC236}">
                <a16:creationId xmlns:a16="http://schemas.microsoft.com/office/drawing/2014/main" id="{66920260-EDF4-1C41-8E7E-DC4248CCF7A5}"/>
              </a:ext>
            </a:extLst>
          </p:cNvPr>
          <p:cNvSpPr txBox="1"/>
          <p:nvPr/>
        </p:nvSpPr>
        <p:spPr>
          <a:xfrm>
            <a:off x="2887600" y="3170707"/>
            <a:ext cx="5273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b="1" dirty="0">
                <a:solidFill>
                  <a:schemeClr val="accent2"/>
                </a:solidFill>
                <a:cs typeface="Arial" panose="020B0604020202020204" pitchFamily="34" charset="0"/>
              </a:rPr>
              <a:t>show</a:t>
            </a:r>
            <a:endParaRPr lang="es-PE" sz="825" b="1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72" name="Google Shape;712;g72ae6a19a1_1_141">
            <a:extLst>
              <a:ext uri="{FF2B5EF4-FFF2-40B4-BE49-F238E27FC236}">
                <a16:creationId xmlns:a16="http://schemas.microsoft.com/office/drawing/2014/main" id="{8A094598-32EC-9D4A-9A2F-07710FB001A3}"/>
              </a:ext>
            </a:extLst>
          </p:cNvPr>
          <p:cNvSpPr txBox="1">
            <a:spLocks/>
          </p:cNvSpPr>
          <p:nvPr/>
        </p:nvSpPr>
        <p:spPr>
          <a:xfrm>
            <a:off x="1186825" y="985956"/>
            <a:ext cx="2688077" cy="212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Play"/>
              <a:buNone/>
              <a:defRPr sz="4000" b="0" i="0" u="none" strike="noStrike" cap="none">
                <a:solidFill>
                  <a:schemeClr val="dk1"/>
                </a:solidFill>
                <a:latin typeface="Play"/>
                <a:ea typeface="Play"/>
                <a:cs typeface="Play"/>
                <a:sym typeface="Pl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500" dirty="0"/>
              <a:t>Integración continua</a:t>
            </a:r>
          </a:p>
        </p:txBody>
      </p:sp>
      <p:sp>
        <p:nvSpPr>
          <p:cNvPr id="73" name="Google Shape;712;g72ae6a19a1_1_141">
            <a:extLst>
              <a:ext uri="{FF2B5EF4-FFF2-40B4-BE49-F238E27FC236}">
                <a16:creationId xmlns:a16="http://schemas.microsoft.com/office/drawing/2014/main" id="{08B2CB97-8116-E143-B682-ADF29EEABB56}"/>
              </a:ext>
            </a:extLst>
          </p:cNvPr>
          <p:cNvSpPr txBox="1">
            <a:spLocks/>
          </p:cNvSpPr>
          <p:nvPr/>
        </p:nvSpPr>
        <p:spPr>
          <a:xfrm>
            <a:off x="3874902" y="966642"/>
            <a:ext cx="2688077" cy="212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Play"/>
              <a:buNone/>
              <a:defRPr sz="4000" b="0" i="0" u="none" strike="noStrike" cap="none">
                <a:solidFill>
                  <a:schemeClr val="dk1"/>
                </a:solidFill>
                <a:latin typeface="Play"/>
                <a:ea typeface="Play"/>
                <a:cs typeface="Play"/>
                <a:sym typeface="Pl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500" dirty="0"/>
              <a:t>Entrega Continua</a:t>
            </a:r>
          </a:p>
        </p:txBody>
      </p:sp>
      <p:sp>
        <p:nvSpPr>
          <p:cNvPr id="74" name="Google Shape;712;g72ae6a19a1_1_141">
            <a:extLst>
              <a:ext uri="{FF2B5EF4-FFF2-40B4-BE49-F238E27FC236}">
                <a16:creationId xmlns:a16="http://schemas.microsoft.com/office/drawing/2014/main" id="{AAF8AC74-CC0F-824C-92C1-05944C8B70BF}"/>
              </a:ext>
            </a:extLst>
          </p:cNvPr>
          <p:cNvSpPr txBox="1">
            <a:spLocks/>
          </p:cNvSpPr>
          <p:nvPr/>
        </p:nvSpPr>
        <p:spPr>
          <a:xfrm>
            <a:off x="6364885" y="978219"/>
            <a:ext cx="2688077" cy="212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Play"/>
              <a:buNone/>
              <a:defRPr sz="4000" b="0" i="0" u="none" strike="noStrike" cap="none">
                <a:solidFill>
                  <a:schemeClr val="dk1"/>
                </a:solidFill>
                <a:latin typeface="Play"/>
                <a:ea typeface="Play"/>
                <a:cs typeface="Play"/>
                <a:sym typeface="Pl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500" dirty="0"/>
              <a:t>Despliegue DEV CERTI PROD</a:t>
            </a:r>
          </a:p>
        </p:txBody>
      </p:sp>
      <p:pic>
        <p:nvPicPr>
          <p:cNvPr id="78" name="Picture 8">
            <a:extLst>
              <a:ext uri="{FF2B5EF4-FFF2-40B4-BE49-F238E27FC236}">
                <a16:creationId xmlns:a16="http://schemas.microsoft.com/office/drawing/2014/main" id="{EB178DB7-9473-7843-B9F4-4BA0E826D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8112933" y="3841256"/>
            <a:ext cx="432717" cy="392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" name="Picture 9">
            <a:extLst>
              <a:ext uri="{FF2B5EF4-FFF2-40B4-BE49-F238E27FC236}">
                <a16:creationId xmlns:a16="http://schemas.microsoft.com/office/drawing/2014/main" id="{0A486616-1220-0D40-830F-BDFBB93A15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6755608" y="3841256"/>
            <a:ext cx="390647" cy="392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0" name="Picture 10">
            <a:extLst>
              <a:ext uri="{FF2B5EF4-FFF2-40B4-BE49-F238E27FC236}">
                <a16:creationId xmlns:a16="http://schemas.microsoft.com/office/drawing/2014/main" id="{32D3EC97-5A23-F34C-9AF3-22E82715A1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470427" y="3841256"/>
            <a:ext cx="412492" cy="392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" name="Título 1">
            <a:extLst>
              <a:ext uri="{FF2B5EF4-FFF2-40B4-BE49-F238E27FC236}">
                <a16:creationId xmlns:a16="http://schemas.microsoft.com/office/drawing/2014/main" id="{FBCE728C-ED5B-4C85-A0AD-8118BF5B0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6" y="292096"/>
            <a:ext cx="7136606" cy="422467"/>
          </a:xfrm>
        </p:spPr>
        <p:txBody>
          <a:bodyPr>
            <a:normAutofit/>
          </a:bodyPr>
          <a:lstStyle/>
          <a:p>
            <a:r>
              <a:rPr lang="es-ES" sz="2000" dirty="0">
                <a:latin typeface="Playfair Display"/>
              </a:rPr>
              <a:t>1. Flujo DevOps</a:t>
            </a:r>
            <a:endParaRPr lang="es-ES" sz="2000" dirty="0"/>
          </a:p>
        </p:txBody>
      </p:sp>
      <p:sp>
        <p:nvSpPr>
          <p:cNvPr id="4" name="Marcador de texto 2">
            <a:extLst>
              <a:ext uri="{FF2B5EF4-FFF2-40B4-BE49-F238E27FC236}">
                <a16:creationId xmlns:a16="http://schemas.microsoft.com/office/drawing/2014/main" id="{2BA3DEDA-F725-472B-8E24-CDC11B276A96}"/>
              </a:ext>
            </a:extLst>
          </p:cNvPr>
          <p:cNvSpPr txBox="1">
            <a:spLocks/>
          </p:cNvSpPr>
          <p:nvPr/>
        </p:nvSpPr>
        <p:spPr>
          <a:xfrm>
            <a:off x="50006" y="87107"/>
            <a:ext cx="10326688" cy="174215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200" dirty="0">
                <a:latin typeface="Soho Gothic Pro Light"/>
              </a:rPr>
              <a:t>Arquitectura DevOps</a:t>
            </a:r>
            <a:endParaRPr lang="es-ES" sz="1200" dirty="0"/>
          </a:p>
        </p:txBody>
      </p:sp>
      <p:pic>
        <p:nvPicPr>
          <p:cNvPr id="89090" name="Picture 2" descr="Download Jira Logo in SVG Vector or PNG File Format - Logo.wine">
            <a:extLst>
              <a:ext uri="{FF2B5EF4-FFF2-40B4-BE49-F238E27FC236}">
                <a16:creationId xmlns:a16="http://schemas.microsoft.com/office/drawing/2014/main" id="{BD73CD02-145A-436C-89A4-C2E089085E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899" y="2604669"/>
            <a:ext cx="1276388" cy="850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0" name="Conector angular 181">
            <a:extLst>
              <a:ext uri="{FF2B5EF4-FFF2-40B4-BE49-F238E27FC236}">
                <a16:creationId xmlns:a16="http://schemas.microsoft.com/office/drawing/2014/main" id="{D0436658-AEA8-4957-B48F-94013893F055}"/>
              </a:ext>
            </a:extLst>
          </p:cNvPr>
          <p:cNvCxnSpPr>
            <a:cxnSpLocks/>
          </p:cNvCxnSpPr>
          <p:nvPr/>
        </p:nvCxnSpPr>
        <p:spPr>
          <a:xfrm rot="16200000" flipV="1">
            <a:off x="511644" y="2700674"/>
            <a:ext cx="348746" cy="2"/>
          </a:xfrm>
          <a:prstGeom prst="bentConnector3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uadroTexto 60">
            <a:extLst>
              <a:ext uri="{FF2B5EF4-FFF2-40B4-BE49-F238E27FC236}">
                <a16:creationId xmlns:a16="http://schemas.microsoft.com/office/drawing/2014/main" id="{8B6A8E59-2202-44E1-B488-A2AED6E8B548}"/>
              </a:ext>
            </a:extLst>
          </p:cNvPr>
          <p:cNvSpPr txBox="1"/>
          <p:nvPr/>
        </p:nvSpPr>
        <p:spPr>
          <a:xfrm>
            <a:off x="778713" y="2528843"/>
            <a:ext cx="5384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b="1" dirty="0">
                <a:solidFill>
                  <a:schemeClr val="accent1"/>
                </a:solidFill>
                <a:cs typeface="Arial" panose="020B0604020202020204" pitchFamily="34" charset="0"/>
              </a:rPr>
              <a:t>ticket</a:t>
            </a:r>
            <a:endParaRPr lang="es-PE" sz="825" b="1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pic>
        <p:nvPicPr>
          <p:cNvPr id="22532" name="Picture 4" descr="Descargar GitHub gratis - 2022 Última versión">
            <a:extLst>
              <a:ext uri="{FF2B5EF4-FFF2-40B4-BE49-F238E27FC236}">
                <a16:creationId xmlns:a16="http://schemas.microsoft.com/office/drawing/2014/main" id="{643B9080-9F13-E94F-C2A0-334BFCD7A4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1269" y="1417279"/>
            <a:ext cx="1002377" cy="563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50006" y="292096"/>
            <a:ext cx="7136606" cy="422467"/>
          </a:xfrm>
        </p:spPr>
        <p:txBody>
          <a:bodyPr>
            <a:normAutofit/>
          </a:bodyPr>
          <a:lstStyle/>
          <a:p>
            <a:r>
              <a:rPr lang="es-ES" sz="2000" dirty="0">
                <a:latin typeface="Playfair Display"/>
              </a:rPr>
              <a:t>2. CICD. Gestión de artefactos</a:t>
            </a:r>
            <a:endParaRPr lang="es-ES" sz="2000" dirty="0"/>
          </a:p>
        </p:txBody>
      </p:sp>
      <p:sp>
        <p:nvSpPr>
          <p:cNvPr id="6" name="Marcador de texto 2"/>
          <p:cNvSpPr txBox="1">
            <a:spLocks/>
          </p:cNvSpPr>
          <p:nvPr/>
        </p:nvSpPr>
        <p:spPr>
          <a:xfrm>
            <a:off x="50006" y="87107"/>
            <a:ext cx="10326688" cy="174215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1200" dirty="0">
                <a:latin typeface="Soho Gothic Pro Light"/>
              </a:rPr>
              <a:t>Arquitectura DevOps</a:t>
            </a:r>
            <a:endParaRPr lang="es-ES" sz="1200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70622631-52BD-488F-AB47-0C55BDECEA86}"/>
              </a:ext>
            </a:extLst>
          </p:cNvPr>
          <p:cNvSpPr txBox="1"/>
          <p:nvPr/>
        </p:nvSpPr>
        <p:spPr>
          <a:xfrm>
            <a:off x="50006" y="835391"/>
            <a:ext cx="8034700" cy="181588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400" b="1" dirty="0" err="1"/>
              <a:t>Jfrog</a:t>
            </a:r>
            <a:r>
              <a:rPr lang="es-ES" sz="1400" b="1" dirty="0"/>
              <a:t> </a:t>
            </a:r>
            <a:r>
              <a:rPr lang="es-ES" sz="1400" b="1" dirty="0" err="1"/>
              <a:t>Container</a:t>
            </a:r>
            <a:r>
              <a:rPr lang="es-ES" sz="1400" b="1" dirty="0"/>
              <a:t> </a:t>
            </a:r>
            <a:r>
              <a:rPr lang="es-ES" sz="1400" b="1" dirty="0" err="1"/>
              <a:t>registry</a:t>
            </a:r>
            <a:r>
              <a:rPr lang="es-ES" sz="1400" b="1" dirty="0"/>
              <a:t> </a:t>
            </a:r>
            <a:r>
              <a:rPr lang="es-ES" sz="1400" dirty="0"/>
              <a:t>es un almacén de imágenes de contenedores que permitirá gestionar el almacenamiento y versionado de los diferentes activos utilizados en el ecosistema DevOps y los flujos CICD.</a:t>
            </a:r>
          </a:p>
          <a:p>
            <a:endParaRPr lang="es-ES" sz="1400" dirty="0"/>
          </a:p>
          <a:p>
            <a:r>
              <a:rPr lang="es-ES" sz="1400" b="1" dirty="0" err="1"/>
              <a:t>Artifactory</a:t>
            </a:r>
            <a:r>
              <a:rPr lang="es-ES" sz="1400" dirty="0"/>
              <a:t> es un almacén de artefactos que hospedará los binarios correspondientes a cada versión de activo generado en los procesos CICD.</a:t>
            </a:r>
          </a:p>
          <a:p>
            <a:endParaRPr lang="es-ES" sz="1400" dirty="0"/>
          </a:p>
          <a:p>
            <a:r>
              <a:rPr lang="es-ES" sz="1400" dirty="0"/>
              <a:t>Por cada tecnología utilizada se dispondrá de un repositorio individual.</a:t>
            </a:r>
          </a:p>
          <a:p>
            <a:endParaRPr lang="es-ES" sz="1400" dirty="0"/>
          </a:p>
        </p:txBody>
      </p:sp>
      <p:graphicFrame>
        <p:nvGraphicFramePr>
          <p:cNvPr id="7" name="Diagrama 6"/>
          <p:cNvGraphicFramePr/>
          <p:nvPr>
            <p:extLst>
              <p:ext uri="{D42A27DB-BD31-4B8C-83A1-F6EECF244321}">
                <p14:modId xmlns:p14="http://schemas.microsoft.com/office/powerpoint/2010/main" val="2533581782"/>
              </p:ext>
            </p:extLst>
          </p:nvPr>
        </p:nvGraphicFramePr>
        <p:xfrm>
          <a:off x="820231" y="2511717"/>
          <a:ext cx="7032101" cy="26317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703027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36ACC9-2F94-EBB3-16A9-84F8FABC3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980724"/>
            <a:ext cx="7886700" cy="994172"/>
          </a:xfrm>
        </p:spPr>
        <p:txBody>
          <a:bodyPr/>
          <a:lstStyle/>
          <a:p>
            <a:pPr algn="ctr"/>
            <a:r>
              <a:rPr lang="es-ES_tradnl" b="1" dirty="0"/>
              <a:t>GRACIA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05D34BD-0ACE-0C5E-BF6B-2EB14FF37D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535704-1EC3-4BB8-9A13-AA08B7FD9B1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781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sait_externa_07092018" id="{BDCD7FBE-5CCC-354F-B23D-2FFF78B0626C}" vid="{0B10B1E6-DDE7-CF48-A0D1-E1BE79F41302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E978DC230BB8D8429BE815D3D1CDA269" ma:contentTypeVersion="11" ma:contentTypeDescription="Crear nuevo documento." ma:contentTypeScope="" ma:versionID="9ad2fed9ca5b99fb2f4e37eda0eae141">
  <xsd:schema xmlns:xsd="http://www.w3.org/2001/XMLSchema" xmlns:xs="http://www.w3.org/2001/XMLSchema" xmlns:p="http://schemas.microsoft.com/office/2006/metadata/properties" xmlns:ns2="0b061c35-4d96-4f84-9fd8-b3ba78fe12b1" xmlns:ns3="bbf0910f-d2d5-4769-9733-407afb430d90" targetNamespace="http://schemas.microsoft.com/office/2006/metadata/properties" ma:root="true" ma:fieldsID="fad04487bc9dcf9a2af074a0a5567634" ns2:_="" ns3:_="">
    <xsd:import namespace="0b061c35-4d96-4f84-9fd8-b3ba78fe12b1"/>
    <xsd:import namespace="bbf0910f-d2d5-4769-9733-407afb430d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061c35-4d96-4f84-9fd8-b3ba78fe12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f0910f-d2d5-4769-9733-407afb430d90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8CE3B46-F335-4F7B-BD6C-DA4F0E5281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b061c35-4d96-4f84-9fd8-b3ba78fe12b1"/>
    <ds:schemaRef ds:uri="bbf0910f-d2d5-4769-9733-407afb430d9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42FE950-A353-4485-92E6-B284E2D40FC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734DB47-E0BF-4BD4-B198-2408A7594C3C}">
  <ds:schemaRefs>
    <ds:schemaRef ds:uri="http://schemas.microsoft.com/office/infopath/2007/PartnerControls"/>
    <ds:schemaRef ds:uri="http://www.w3.org/XML/1998/namespace"/>
    <ds:schemaRef ds:uri="bbf0910f-d2d5-4769-9733-407afb430d90"/>
    <ds:schemaRef ds:uri="http://purl.org/dc/terms/"/>
    <ds:schemaRef ds:uri="http://purl.org/dc/elements/1.1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0b061c35-4d96-4f84-9fd8-b3ba78fe12b1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rtadas</Template>
  <TotalTime>394</TotalTime>
  <Words>140</Words>
  <Application>Microsoft Macintosh PowerPoint</Application>
  <PresentationFormat>Presentación en pantalla (16:9)</PresentationFormat>
  <Paragraphs>50</Paragraphs>
  <Slides>4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6" baseType="lpstr">
      <vt:lpstr>Arial</vt:lpstr>
      <vt:lpstr>Calibri</vt:lpstr>
      <vt:lpstr>Calibri </vt:lpstr>
      <vt:lpstr>Calibri Light</vt:lpstr>
      <vt:lpstr>Noto Sans Symbols</vt:lpstr>
      <vt:lpstr>Play</vt:lpstr>
      <vt:lpstr>Playfair Display</vt:lpstr>
      <vt:lpstr>Soho Gothic Pro</vt:lpstr>
      <vt:lpstr>Soho Gothic Pro Light</vt:lpstr>
      <vt:lpstr>Portadas</vt:lpstr>
      <vt:lpstr>Tema de Office</vt:lpstr>
      <vt:lpstr>Diapositiva de think-cell</vt:lpstr>
      <vt:lpstr>ARQUITECTURA DEVOPS</vt:lpstr>
      <vt:lpstr>1. Flujo DevOps</vt:lpstr>
      <vt:lpstr>2. CICD. Gestión de artefactos</vt:lpstr>
      <vt:lpstr>GRACI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externa</dc:title>
  <dc:creator>Usuario de Microsoft Office</dc:creator>
  <cp:lastModifiedBy>Isaac Ygnacio Mendoza Huaman�</cp:lastModifiedBy>
  <cp:revision>417</cp:revision>
  <cp:lastPrinted>2018-09-05T10:32:03Z</cp:lastPrinted>
  <dcterms:created xsi:type="dcterms:W3CDTF">2018-09-13T08:34:57Z</dcterms:created>
  <dcterms:modified xsi:type="dcterms:W3CDTF">2022-08-19T06:5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78DC230BB8D8429BE815D3D1CDA269</vt:lpwstr>
  </property>
</Properties>
</file>